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  <p:sldMasterId id="2147483810" r:id="rId3"/>
  </p:sldMasterIdLst>
  <p:notesMasterIdLst>
    <p:notesMasterId r:id="rId39"/>
  </p:notesMasterIdLst>
  <p:sldIdLst>
    <p:sldId id="1624" r:id="rId4"/>
    <p:sldId id="2416" r:id="rId5"/>
    <p:sldId id="4567" r:id="rId6"/>
    <p:sldId id="4568" r:id="rId7"/>
    <p:sldId id="4569" r:id="rId8"/>
    <p:sldId id="4570" r:id="rId9"/>
    <p:sldId id="2423" r:id="rId10"/>
    <p:sldId id="1364" r:id="rId11"/>
    <p:sldId id="1366" r:id="rId12"/>
    <p:sldId id="1367" r:id="rId13"/>
    <p:sldId id="1369" r:id="rId14"/>
    <p:sldId id="1370" r:id="rId15"/>
    <p:sldId id="1372" r:id="rId16"/>
    <p:sldId id="1373" r:id="rId17"/>
    <p:sldId id="1375" r:id="rId18"/>
    <p:sldId id="1376" r:id="rId19"/>
    <p:sldId id="1378" r:id="rId20"/>
    <p:sldId id="1379" r:id="rId21"/>
    <p:sldId id="1381" r:id="rId22"/>
    <p:sldId id="1382" r:id="rId23"/>
    <p:sldId id="1384" r:id="rId24"/>
    <p:sldId id="1385" r:id="rId25"/>
    <p:sldId id="1387" r:id="rId26"/>
    <p:sldId id="1388" r:id="rId27"/>
    <p:sldId id="1390" r:id="rId28"/>
    <p:sldId id="1391" r:id="rId29"/>
    <p:sldId id="1393" r:id="rId30"/>
    <p:sldId id="1394" r:id="rId31"/>
    <p:sldId id="1396" r:id="rId32"/>
    <p:sldId id="4544" r:id="rId33"/>
    <p:sldId id="4545" r:id="rId34"/>
    <p:sldId id="1400" r:id="rId35"/>
    <p:sldId id="1402" r:id="rId36"/>
    <p:sldId id="1403" r:id="rId37"/>
    <p:sldId id="1405" r:id="rId38"/>
  </p:sldIdLst>
  <p:sldSz cx="12192000" cy="6858000"/>
  <p:notesSz cx="6858000" cy="9144000"/>
  <p:custDataLst>
    <p:tags r:id="rId40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8" userDrawn="1">
          <p15:clr>
            <a:srgbClr val="A4A3A4"/>
          </p15:clr>
        </p15:guide>
        <p15:guide id="2" pos="5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CC"/>
    <a:srgbClr val="00FF00"/>
    <a:srgbClr val="FF9900"/>
    <a:srgbClr val="3333CC"/>
    <a:srgbClr val="D31145"/>
    <a:srgbClr val="00B050"/>
    <a:srgbClr val="800000"/>
    <a:srgbClr val="EAEFF7"/>
    <a:srgbClr val="4472C4"/>
    <a:srgbClr val="7671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114" autoAdjust="0"/>
    <p:restoredTop sz="95297" autoAdjust="0"/>
  </p:normalViewPr>
  <p:slideViewPr>
    <p:cSldViewPr snapToGrid="0">
      <p:cViewPr varScale="1">
        <p:scale>
          <a:sx n="106" d="100"/>
          <a:sy n="106" d="100"/>
        </p:scale>
        <p:origin x="114" y="108"/>
      </p:cViewPr>
      <p:guideLst>
        <p:guide orient="horz" pos="958"/>
        <p:guide pos="57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viewProps" Target="view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theme" Target="theme/theme1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B$244:$B$427</c:f>
              <c:numCache>
                <c:formatCode>General</c:formatCode>
                <c:ptCount val="184"/>
                <c:pt idx="0">
                  <c:v>1171</c:v>
                </c:pt>
                <c:pt idx="1">
                  <c:v>510</c:v>
                </c:pt>
                <c:pt idx="2">
                  <c:v>2220</c:v>
                </c:pt>
                <c:pt idx="3">
                  <c:v>2416</c:v>
                </c:pt>
                <c:pt idx="4">
                  <c:v>1873</c:v>
                </c:pt>
                <c:pt idx="5">
                  <c:v>1576</c:v>
                </c:pt>
                <c:pt idx="6">
                  <c:v>1638</c:v>
                </c:pt>
                <c:pt idx="7">
                  <c:v>728</c:v>
                </c:pt>
                <c:pt idx="8">
                  <c:v>384</c:v>
                </c:pt>
                <c:pt idx="9">
                  <c:v>1545</c:v>
                </c:pt>
                <c:pt idx="10">
                  <c:v>1691</c:v>
                </c:pt>
                <c:pt idx="11">
                  <c:v>1264</c:v>
                </c:pt>
                <c:pt idx="12">
                  <c:v>1223</c:v>
                </c:pt>
                <c:pt idx="13">
                  <c:v>1053</c:v>
                </c:pt>
                <c:pt idx="14">
                  <c:v>597</c:v>
                </c:pt>
                <c:pt idx="15">
                  <c:v>257</c:v>
                </c:pt>
                <c:pt idx="16">
                  <c:v>1130</c:v>
                </c:pt>
                <c:pt idx="17">
                  <c:v>1200</c:v>
                </c:pt>
                <c:pt idx="18">
                  <c:v>779</c:v>
                </c:pt>
                <c:pt idx="19">
                  <c:v>678</c:v>
                </c:pt>
                <c:pt idx="20">
                  <c:v>672</c:v>
                </c:pt>
                <c:pt idx="21">
                  <c:v>336</c:v>
                </c:pt>
                <c:pt idx="22">
                  <c:v>197</c:v>
                </c:pt>
                <c:pt idx="23">
                  <c:v>697</c:v>
                </c:pt>
                <c:pt idx="24">
                  <c:v>661</c:v>
                </c:pt>
                <c:pt idx="25">
                  <c:v>539</c:v>
                </c:pt>
                <c:pt idx="26">
                  <c:v>507</c:v>
                </c:pt>
                <c:pt idx="27">
                  <c:v>455</c:v>
                </c:pt>
                <c:pt idx="28">
                  <c:v>222</c:v>
                </c:pt>
                <c:pt idx="29">
                  <c:v>112</c:v>
                </c:pt>
                <c:pt idx="30">
                  <c:v>514</c:v>
                </c:pt>
                <c:pt idx="31">
                  <c:v>479</c:v>
                </c:pt>
                <c:pt idx="32">
                  <c:v>353</c:v>
                </c:pt>
                <c:pt idx="33">
                  <c:v>427</c:v>
                </c:pt>
                <c:pt idx="34">
                  <c:v>321</c:v>
                </c:pt>
                <c:pt idx="35">
                  <c:v>153</c:v>
                </c:pt>
                <c:pt idx="36">
                  <c:v>98</c:v>
                </c:pt>
                <c:pt idx="37">
                  <c:v>296</c:v>
                </c:pt>
                <c:pt idx="38">
                  <c:v>384</c:v>
                </c:pt>
                <c:pt idx="39">
                  <c:v>251</c:v>
                </c:pt>
                <c:pt idx="40">
                  <c:v>190</c:v>
                </c:pt>
                <c:pt idx="41">
                  <c:v>180</c:v>
                </c:pt>
                <c:pt idx="42">
                  <c:v>73</c:v>
                </c:pt>
                <c:pt idx="43">
                  <c:v>41</c:v>
                </c:pt>
                <c:pt idx="44">
                  <c:v>175</c:v>
                </c:pt>
                <c:pt idx="45">
                  <c:v>208</c:v>
                </c:pt>
                <c:pt idx="46">
                  <c:v>129</c:v>
                </c:pt>
                <c:pt idx="47">
                  <c:v>157</c:v>
                </c:pt>
                <c:pt idx="48">
                  <c:v>144</c:v>
                </c:pt>
                <c:pt idx="49">
                  <c:v>63</c:v>
                </c:pt>
                <c:pt idx="50">
                  <c:v>57</c:v>
                </c:pt>
                <c:pt idx="51">
                  <c:v>119</c:v>
                </c:pt>
                <c:pt idx="52">
                  <c:v>112</c:v>
                </c:pt>
                <c:pt idx="53">
                  <c:v>105</c:v>
                </c:pt>
                <c:pt idx="54">
                  <c:v>96</c:v>
                </c:pt>
                <c:pt idx="55">
                  <c:v>132</c:v>
                </c:pt>
                <c:pt idx="56">
                  <c:v>68</c:v>
                </c:pt>
                <c:pt idx="57">
                  <c:v>58</c:v>
                </c:pt>
                <c:pt idx="58">
                  <c:v>151</c:v>
                </c:pt>
                <c:pt idx="59">
                  <c:v>156</c:v>
                </c:pt>
                <c:pt idx="60">
                  <c:v>137</c:v>
                </c:pt>
                <c:pt idx="61">
                  <c:v>166</c:v>
                </c:pt>
                <c:pt idx="62">
                  <c:v>164</c:v>
                </c:pt>
                <c:pt idx="63">
                  <c:v>125</c:v>
                </c:pt>
                <c:pt idx="64">
                  <c:v>108</c:v>
                </c:pt>
                <c:pt idx="65">
                  <c:v>130</c:v>
                </c:pt>
                <c:pt idx="66">
                  <c:v>110</c:v>
                </c:pt>
                <c:pt idx="67">
                  <c:v>280</c:v>
                </c:pt>
                <c:pt idx="68">
                  <c:v>249</c:v>
                </c:pt>
                <c:pt idx="69">
                  <c:v>285</c:v>
                </c:pt>
                <c:pt idx="70">
                  <c:v>157</c:v>
                </c:pt>
                <c:pt idx="71">
                  <c:v>147</c:v>
                </c:pt>
                <c:pt idx="72">
                  <c:v>244</c:v>
                </c:pt>
                <c:pt idx="73">
                  <c:v>322</c:v>
                </c:pt>
                <c:pt idx="74">
                  <c:v>261</c:v>
                </c:pt>
                <c:pt idx="75">
                  <c:v>225</c:v>
                </c:pt>
                <c:pt idx="76">
                  <c:v>241</c:v>
                </c:pt>
                <c:pt idx="77">
                  <c:v>197</c:v>
                </c:pt>
                <c:pt idx="78">
                  <c:v>116</c:v>
                </c:pt>
                <c:pt idx="79">
                  <c:v>219</c:v>
                </c:pt>
                <c:pt idx="80">
                  <c:v>300</c:v>
                </c:pt>
                <c:pt idx="81">
                  <c:v>231</c:v>
                </c:pt>
                <c:pt idx="82">
                  <c:v>196</c:v>
                </c:pt>
                <c:pt idx="83">
                  <c:v>189</c:v>
                </c:pt>
                <c:pt idx="84">
                  <c:v>125</c:v>
                </c:pt>
                <c:pt idx="85">
                  <c:v>80</c:v>
                </c:pt>
                <c:pt idx="86">
                  <c:v>198</c:v>
                </c:pt>
                <c:pt idx="87">
                  <c:v>253</c:v>
                </c:pt>
                <c:pt idx="88">
                  <c:v>192</c:v>
                </c:pt>
                <c:pt idx="89">
                  <c:v>204</c:v>
                </c:pt>
                <c:pt idx="90">
                  <c:v>138</c:v>
                </c:pt>
                <c:pt idx="91">
                  <c:v>115</c:v>
                </c:pt>
                <c:pt idx="92">
                  <c:v>77</c:v>
                </c:pt>
                <c:pt idx="93">
                  <c:v>152</c:v>
                </c:pt>
                <c:pt idx="94">
                  <c:v>238</c:v>
                </c:pt>
                <c:pt idx="95">
                  <c:v>208</c:v>
                </c:pt>
                <c:pt idx="96">
                  <c:v>164</c:v>
                </c:pt>
                <c:pt idx="97">
                  <c:v>173</c:v>
                </c:pt>
                <c:pt idx="98">
                  <c:v>154</c:v>
                </c:pt>
                <c:pt idx="99">
                  <c:v>106</c:v>
                </c:pt>
                <c:pt idx="100">
                  <c:v>168</c:v>
                </c:pt>
                <c:pt idx="101">
                  <c:v>260</c:v>
                </c:pt>
                <c:pt idx="102">
                  <c:v>219</c:v>
                </c:pt>
                <c:pt idx="103">
                  <c:v>190</c:v>
                </c:pt>
                <c:pt idx="104">
                  <c:v>216</c:v>
                </c:pt>
                <c:pt idx="105">
                  <c:v>142</c:v>
                </c:pt>
                <c:pt idx="106">
                  <c:v>77</c:v>
                </c:pt>
                <c:pt idx="107">
                  <c:v>215</c:v>
                </c:pt>
                <c:pt idx="108">
                  <c:v>300</c:v>
                </c:pt>
                <c:pt idx="109">
                  <c:v>208</c:v>
                </c:pt>
                <c:pt idx="110">
                  <c:v>165</c:v>
                </c:pt>
                <c:pt idx="111">
                  <c:v>170</c:v>
                </c:pt>
                <c:pt idx="112">
                  <c:v>133</c:v>
                </c:pt>
                <c:pt idx="113">
                  <c:v>107</c:v>
                </c:pt>
                <c:pt idx="114">
                  <c:v>211</c:v>
                </c:pt>
                <c:pt idx="115">
                  <c:v>248</c:v>
                </c:pt>
                <c:pt idx="116">
                  <c:v>245</c:v>
                </c:pt>
                <c:pt idx="117">
                  <c:v>211</c:v>
                </c:pt>
                <c:pt idx="118">
                  <c:v>182</c:v>
                </c:pt>
                <c:pt idx="119">
                  <c:v>133</c:v>
                </c:pt>
                <c:pt idx="120">
                  <c:v>81</c:v>
                </c:pt>
                <c:pt idx="121">
                  <c:v>241</c:v>
                </c:pt>
                <c:pt idx="122">
                  <c:v>287</c:v>
                </c:pt>
                <c:pt idx="123">
                  <c:v>262</c:v>
                </c:pt>
                <c:pt idx="124">
                  <c:v>305</c:v>
                </c:pt>
                <c:pt idx="125">
                  <c:v>307</c:v>
                </c:pt>
                <c:pt idx="126">
                  <c:v>206</c:v>
                </c:pt>
                <c:pt idx="127">
                  <c:v>140</c:v>
                </c:pt>
                <c:pt idx="128">
                  <c:v>391</c:v>
                </c:pt>
                <c:pt idx="129">
                  <c:v>583</c:v>
                </c:pt>
                <c:pt idx="130">
                  <c:v>380</c:v>
                </c:pt>
                <c:pt idx="131">
                  <c:v>418</c:v>
                </c:pt>
                <c:pt idx="132">
                  <c:v>444</c:v>
                </c:pt>
                <c:pt idx="133">
                  <c:v>250</c:v>
                </c:pt>
                <c:pt idx="134">
                  <c:v>136</c:v>
                </c:pt>
                <c:pt idx="135">
                  <c:v>490</c:v>
                </c:pt>
                <c:pt idx="136">
                  <c:v>554</c:v>
                </c:pt>
                <c:pt idx="137">
                  <c:v>520</c:v>
                </c:pt>
                <c:pt idx="138">
                  <c:v>555</c:v>
                </c:pt>
                <c:pt idx="139">
                  <c:v>440</c:v>
                </c:pt>
                <c:pt idx="140">
                  <c:v>301</c:v>
                </c:pt>
                <c:pt idx="141">
                  <c:v>186</c:v>
                </c:pt>
                <c:pt idx="142">
                  <c:v>479</c:v>
                </c:pt>
                <c:pt idx="143">
                  <c:v>596</c:v>
                </c:pt>
                <c:pt idx="144">
                  <c:v>522</c:v>
                </c:pt>
                <c:pt idx="145">
                  <c:v>484</c:v>
                </c:pt>
                <c:pt idx="146">
                  <c:v>499</c:v>
                </c:pt>
                <c:pt idx="147">
                  <c:v>413</c:v>
                </c:pt>
                <c:pt idx="148">
                  <c:v>249</c:v>
                </c:pt>
                <c:pt idx="149">
                  <c:v>671</c:v>
                </c:pt>
                <c:pt idx="150">
                  <c:v>473</c:v>
                </c:pt>
                <c:pt idx="151">
                  <c:v>732</c:v>
                </c:pt>
                <c:pt idx="152">
                  <c:v>916</c:v>
                </c:pt>
                <c:pt idx="153">
                  <c:v>825</c:v>
                </c:pt>
                <c:pt idx="154">
                  <c:v>551</c:v>
                </c:pt>
                <c:pt idx="155">
                  <c:v>316</c:v>
                </c:pt>
                <c:pt idx="156">
                  <c:v>798</c:v>
                </c:pt>
                <c:pt idx="157">
                  <c:v>1108</c:v>
                </c:pt>
                <c:pt idx="158">
                  <c:v>1046</c:v>
                </c:pt>
                <c:pt idx="159">
                  <c:v>987</c:v>
                </c:pt>
                <c:pt idx="160">
                  <c:v>1016</c:v>
                </c:pt>
                <c:pt idx="161">
                  <c:v>665</c:v>
                </c:pt>
                <c:pt idx="162">
                  <c:v>336</c:v>
                </c:pt>
                <c:pt idx="163">
                  <c:v>1342</c:v>
                </c:pt>
                <c:pt idx="164">
                  <c:v>1507</c:v>
                </c:pt>
                <c:pt idx="165">
                  <c:v>1501</c:v>
                </c:pt>
                <c:pt idx="166">
                  <c:v>1536</c:v>
                </c:pt>
                <c:pt idx="167">
                  <c:v>1781</c:v>
                </c:pt>
                <c:pt idx="168">
                  <c:v>1158</c:v>
                </c:pt>
                <c:pt idx="169">
                  <c:v>794</c:v>
                </c:pt>
                <c:pt idx="170">
                  <c:v>2532</c:v>
                </c:pt>
                <c:pt idx="171">
                  <c:v>3247</c:v>
                </c:pt>
                <c:pt idx="172">
                  <c:v>3280</c:v>
                </c:pt>
                <c:pt idx="173">
                  <c:v>3646</c:v>
                </c:pt>
                <c:pt idx="174">
                  <c:v>4240</c:v>
                </c:pt>
                <c:pt idx="175">
                  <c:v>2751</c:v>
                </c:pt>
                <c:pt idx="176">
                  <c:v>1833</c:v>
                </c:pt>
                <c:pt idx="177">
                  <c:v>4282</c:v>
                </c:pt>
                <c:pt idx="178">
                  <c:v>62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5B-44FD-BABB-7344EE2BF8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C$244:$C$427</c:f>
              <c:numCache>
                <c:formatCode>General</c:formatCode>
                <c:ptCount val="18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75B-44FD-BABB-7344EE2BF81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D$244:$D$427</c:f>
              <c:numCache>
                <c:formatCode>General</c:formatCode>
                <c:ptCount val="184"/>
                <c:pt idx="153" formatCode="#,##0">
                  <c:v>794</c:v>
                </c:pt>
                <c:pt idx="154" formatCode="#,##0">
                  <c:v>826</c:v>
                </c:pt>
                <c:pt idx="155" formatCode="#,##0">
                  <c:v>858</c:v>
                </c:pt>
                <c:pt idx="156" formatCode="#,##0">
                  <c:v>890</c:v>
                </c:pt>
                <c:pt idx="157" formatCode="#,##0">
                  <c:v>922</c:v>
                </c:pt>
                <c:pt idx="158" formatCode="#,##0">
                  <c:v>957</c:v>
                </c:pt>
                <c:pt idx="159" formatCode="#,##0">
                  <c:v>993</c:v>
                </c:pt>
                <c:pt idx="160" formatCode="#,##0">
                  <c:v>1032</c:v>
                </c:pt>
                <c:pt idx="161" formatCode="#,##0">
                  <c:v>1070</c:v>
                </c:pt>
                <c:pt idx="162" formatCode="#,##0">
                  <c:v>1110</c:v>
                </c:pt>
                <c:pt idx="163" formatCode="#,##0">
                  <c:v>1150</c:v>
                </c:pt>
                <c:pt idx="164" formatCode="#,##0">
                  <c:v>1193</c:v>
                </c:pt>
                <c:pt idx="165" formatCode="#,##0">
                  <c:v>1237</c:v>
                </c:pt>
                <c:pt idx="166" formatCode="#,##0">
                  <c:v>1283</c:v>
                </c:pt>
                <c:pt idx="167" formatCode="#,##0">
                  <c:v>1330</c:v>
                </c:pt>
                <c:pt idx="168" formatCode="#,##0">
                  <c:v>1378</c:v>
                </c:pt>
                <c:pt idx="169" formatCode="#,##0">
                  <c:v>1429</c:v>
                </c:pt>
                <c:pt idx="170" formatCode="#,##0">
                  <c:v>1481</c:v>
                </c:pt>
                <c:pt idx="171" formatCode="#,##0">
                  <c:v>1535</c:v>
                </c:pt>
                <c:pt idx="172" formatCode="#,##0">
                  <c:v>1590</c:v>
                </c:pt>
                <c:pt idx="173" formatCode="#,##0">
                  <c:v>1647</c:v>
                </c:pt>
                <c:pt idx="174" formatCode="#,##0">
                  <c:v>1707</c:v>
                </c:pt>
                <c:pt idx="175" formatCode="#,##0">
                  <c:v>1768</c:v>
                </c:pt>
                <c:pt idx="176" formatCode="#,##0">
                  <c:v>1832</c:v>
                </c:pt>
                <c:pt idx="177" formatCode="#,##0">
                  <c:v>1897</c:v>
                </c:pt>
                <c:pt idx="178" formatCode="#,##0">
                  <c:v>1965</c:v>
                </c:pt>
                <c:pt idx="179" formatCode="#,##0">
                  <c:v>2036</c:v>
                </c:pt>
                <c:pt idx="180" formatCode="#,##0">
                  <c:v>2108</c:v>
                </c:pt>
                <c:pt idx="181" formatCode="#,##0">
                  <c:v>2183</c:v>
                </c:pt>
                <c:pt idx="182" formatCode="#,##0">
                  <c:v>2261</c:v>
                </c:pt>
                <c:pt idx="183" formatCode="#,##0">
                  <c:v>23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75B-44FD-BABB-7344EE2BF81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E$244:$E$427</c:f>
              <c:numCache>
                <c:formatCode>General</c:formatCode>
                <c:ptCount val="184"/>
                <c:pt idx="153" formatCode="#,##0">
                  <c:v>824</c:v>
                </c:pt>
                <c:pt idx="154" formatCode="#,##0">
                  <c:v>873</c:v>
                </c:pt>
                <c:pt idx="155" formatCode="#,##0">
                  <c:v>917</c:v>
                </c:pt>
                <c:pt idx="156" formatCode="#,##0">
                  <c:v>955</c:v>
                </c:pt>
                <c:pt idx="157" formatCode="#,##0">
                  <c:v>1003</c:v>
                </c:pt>
                <c:pt idx="158" formatCode="#,##0">
                  <c:v>1057</c:v>
                </c:pt>
                <c:pt idx="159" formatCode="#,##0">
                  <c:v>1117</c:v>
                </c:pt>
                <c:pt idx="160" formatCode="#,##0">
                  <c:v>1180</c:v>
                </c:pt>
                <c:pt idx="161" formatCode="#,##0">
                  <c:v>1240</c:v>
                </c:pt>
                <c:pt idx="162" formatCode="#,##0">
                  <c:v>1300</c:v>
                </c:pt>
                <c:pt idx="163" formatCode="#,##0">
                  <c:v>1365</c:v>
                </c:pt>
                <c:pt idx="164" formatCode="#,##0">
                  <c:v>1438</c:v>
                </c:pt>
                <c:pt idx="165" formatCode="#,##0">
                  <c:v>1515</c:v>
                </c:pt>
                <c:pt idx="166" formatCode="#,##0">
                  <c:v>1593</c:v>
                </c:pt>
                <c:pt idx="167" formatCode="#,##0">
                  <c:v>1674</c:v>
                </c:pt>
                <c:pt idx="168" formatCode="#,##0">
                  <c:v>1757</c:v>
                </c:pt>
                <c:pt idx="169" formatCode="#,##0">
                  <c:v>1847</c:v>
                </c:pt>
                <c:pt idx="170" formatCode="#,##0">
                  <c:v>1943</c:v>
                </c:pt>
                <c:pt idx="171" formatCode="#,##0">
                  <c:v>2043</c:v>
                </c:pt>
                <c:pt idx="172" formatCode="#,##0">
                  <c:v>2147</c:v>
                </c:pt>
                <c:pt idx="173" formatCode="#,##0">
                  <c:v>2255</c:v>
                </c:pt>
                <c:pt idx="174" formatCode="#,##0">
                  <c:v>2369</c:v>
                </c:pt>
                <c:pt idx="175" formatCode="#,##0">
                  <c:v>2489</c:v>
                </c:pt>
                <c:pt idx="176" formatCode="#,##0">
                  <c:v>2615</c:v>
                </c:pt>
                <c:pt idx="177" formatCode="#,##0">
                  <c:v>2748</c:v>
                </c:pt>
                <c:pt idx="178" formatCode="#,##0">
                  <c:v>2887</c:v>
                </c:pt>
                <c:pt idx="179" formatCode="#,##0">
                  <c:v>3031</c:v>
                </c:pt>
                <c:pt idx="180" formatCode="#,##0">
                  <c:v>3184</c:v>
                </c:pt>
                <c:pt idx="181" formatCode="#,##0">
                  <c:v>3343</c:v>
                </c:pt>
                <c:pt idx="182" formatCode="#,##0">
                  <c:v>3512</c:v>
                </c:pt>
                <c:pt idx="183" formatCode="#,##0">
                  <c:v>36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75B-44FD-BABB-7344EE2BF81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F$244:$F$427</c:f>
              <c:numCache>
                <c:formatCode>General</c:formatCode>
                <c:ptCount val="184"/>
                <c:pt idx="153" formatCode="#,##0">
                  <c:v>853</c:v>
                </c:pt>
                <c:pt idx="154" formatCode="#,##0">
                  <c:v>920</c:v>
                </c:pt>
                <c:pt idx="155" formatCode="#,##0">
                  <c:v>975</c:v>
                </c:pt>
                <c:pt idx="156" formatCode="#,##0">
                  <c:v>1021</c:v>
                </c:pt>
                <c:pt idx="157" formatCode="#,##0">
                  <c:v>1085</c:v>
                </c:pt>
                <c:pt idx="158" formatCode="#,##0">
                  <c:v>1162</c:v>
                </c:pt>
                <c:pt idx="159" formatCode="#,##0">
                  <c:v>1247</c:v>
                </c:pt>
                <c:pt idx="160" formatCode="#,##0">
                  <c:v>1339</c:v>
                </c:pt>
                <c:pt idx="161" formatCode="#,##0">
                  <c:v>1421</c:v>
                </c:pt>
                <c:pt idx="162" formatCode="#,##0">
                  <c:v>1506</c:v>
                </c:pt>
                <c:pt idx="163" formatCode="#,##0">
                  <c:v>1602</c:v>
                </c:pt>
                <c:pt idx="164" formatCode="#,##0">
                  <c:v>1713</c:v>
                </c:pt>
                <c:pt idx="165" formatCode="#,##0">
                  <c:v>1830</c:v>
                </c:pt>
                <c:pt idx="166" formatCode="#,##0">
                  <c:v>1951</c:v>
                </c:pt>
                <c:pt idx="167" formatCode="#,##0">
                  <c:v>2075</c:v>
                </c:pt>
                <c:pt idx="168" formatCode="#,##0">
                  <c:v>2206</c:v>
                </c:pt>
                <c:pt idx="169" formatCode="#,##0">
                  <c:v>2349</c:v>
                </c:pt>
                <c:pt idx="170" formatCode="#,##0">
                  <c:v>2505</c:v>
                </c:pt>
                <c:pt idx="171" formatCode="#,##0">
                  <c:v>2671</c:v>
                </c:pt>
                <c:pt idx="172" formatCode="#,##0">
                  <c:v>2844</c:v>
                </c:pt>
                <c:pt idx="173" formatCode="#,##0">
                  <c:v>3025</c:v>
                </c:pt>
                <c:pt idx="174" formatCode="#,##0">
                  <c:v>3219</c:v>
                </c:pt>
                <c:pt idx="175" formatCode="#,##0">
                  <c:v>3427</c:v>
                </c:pt>
                <c:pt idx="176" formatCode="#,##0">
                  <c:v>3651</c:v>
                </c:pt>
                <c:pt idx="177" formatCode="#,##0">
                  <c:v>3887</c:v>
                </c:pt>
                <c:pt idx="178" formatCode="#,##0">
                  <c:v>4137</c:v>
                </c:pt>
                <c:pt idx="179" formatCode="#,##0">
                  <c:v>4402</c:v>
                </c:pt>
                <c:pt idx="180" formatCode="#,##0">
                  <c:v>4685</c:v>
                </c:pt>
                <c:pt idx="181" formatCode="#,##0">
                  <c:v>4986</c:v>
                </c:pt>
                <c:pt idx="182" formatCode="#,##0">
                  <c:v>5308</c:v>
                </c:pt>
                <c:pt idx="183" formatCode="#,##0">
                  <c:v>56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75B-44FD-BABB-7344EE2BF81C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G$244:$G$427</c:f>
              <c:numCache>
                <c:formatCode>General</c:formatCode>
                <c:ptCount val="184"/>
                <c:pt idx="153" formatCode="#,##0">
                  <c:v>853</c:v>
                </c:pt>
                <c:pt idx="154" formatCode="#,##0">
                  <c:v>920</c:v>
                </c:pt>
                <c:pt idx="155" formatCode="#,##0">
                  <c:v>975</c:v>
                </c:pt>
                <c:pt idx="156" formatCode="#,##0">
                  <c:v>1021</c:v>
                </c:pt>
                <c:pt idx="157" formatCode="#,##0">
                  <c:v>1085</c:v>
                </c:pt>
                <c:pt idx="158" formatCode="#,##0">
                  <c:v>1162</c:v>
                </c:pt>
                <c:pt idx="159" formatCode="#,##0">
                  <c:v>1247</c:v>
                </c:pt>
                <c:pt idx="160" formatCode="#,##0">
                  <c:v>1339</c:v>
                </c:pt>
                <c:pt idx="161" formatCode="#,##0">
                  <c:v>1421</c:v>
                </c:pt>
                <c:pt idx="162" formatCode="#,##0">
                  <c:v>1506</c:v>
                </c:pt>
                <c:pt idx="163" formatCode="#,##0">
                  <c:v>1602</c:v>
                </c:pt>
                <c:pt idx="164" formatCode="#,##0">
                  <c:v>1826</c:v>
                </c:pt>
                <c:pt idx="165" formatCode="#,##0">
                  <c:v>2015</c:v>
                </c:pt>
                <c:pt idx="166" formatCode="#,##0">
                  <c:v>2185</c:v>
                </c:pt>
                <c:pt idx="167" formatCode="#,##0">
                  <c:v>2344</c:v>
                </c:pt>
                <c:pt idx="168" formatCode="#,##0">
                  <c:v>2549</c:v>
                </c:pt>
                <c:pt idx="169" formatCode="#,##0">
                  <c:v>2793</c:v>
                </c:pt>
                <c:pt idx="170" formatCode="#,##0">
                  <c:v>3068</c:v>
                </c:pt>
                <c:pt idx="171" formatCode="#,##0">
                  <c:v>3367</c:v>
                </c:pt>
                <c:pt idx="172" formatCode="#,##0">
                  <c:v>3658</c:v>
                </c:pt>
                <c:pt idx="173" formatCode="#,##0">
                  <c:v>3970</c:v>
                </c:pt>
                <c:pt idx="174" formatCode="#,##0">
                  <c:v>4323</c:v>
                </c:pt>
                <c:pt idx="175" formatCode="#,##0">
                  <c:v>4733</c:v>
                </c:pt>
                <c:pt idx="176" formatCode="#,##0">
                  <c:v>5176</c:v>
                </c:pt>
                <c:pt idx="177" formatCode="#,##0">
                  <c:v>5646</c:v>
                </c:pt>
                <c:pt idx="178" formatCode="#,##0">
                  <c:v>6148</c:v>
                </c:pt>
                <c:pt idx="179" formatCode="#,##0">
                  <c:v>6694</c:v>
                </c:pt>
                <c:pt idx="180" formatCode="#,##0">
                  <c:v>7302</c:v>
                </c:pt>
                <c:pt idx="181" formatCode="#,##0">
                  <c:v>7972</c:v>
                </c:pt>
                <c:pt idx="182" formatCode="#,##0">
                  <c:v>8702</c:v>
                </c:pt>
                <c:pt idx="183" formatCode="#,##0">
                  <c:v>94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C0A-4FB6-B884-CAA887A0F9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8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H$122:$H$274</c:f>
              <c:numCache>
                <c:formatCode>0</c:formatCode>
                <c:ptCount val="15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56-44D5-9D37-C4836F1D4B2F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I$122:$I$274</c:f>
              <c:numCache>
                <c:formatCode>0</c:formatCode>
                <c:ptCount val="153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356-44D5-9D37-C4836F1D4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B$122:$B$274</c:f>
              <c:numCache>
                <c:formatCode>0</c:formatCode>
                <c:ptCount val="153"/>
                <c:pt idx="0">
                  <c:v>24.532985021343695</c:v>
                </c:pt>
                <c:pt idx="1">
                  <c:v>23.856213020754907</c:v>
                </c:pt>
                <c:pt idx="2">
                  <c:v>23.856213020754907</c:v>
                </c:pt>
                <c:pt idx="3">
                  <c:v>24.702178021490894</c:v>
                </c:pt>
                <c:pt idx="4">
                  <c:v>23.856213020754907</c:v>
                </c:pt>
                <c:pt idx="5">
                  <c:v>24.702178021490894</c:v>
                </c:pt>
                <c:pt idx="6">
                  <c:v>23.856213020754907</c:v>
                </c:pt>
                <c:pt idx="7">
                  <c:v>21.656704018841335</c:v>
                </c:pt>
                <c:pt idx="8">
                  <c:v>22.502669019577322</c:v>
                </c:pt>
                <c:pt idx="9">
                  <c:v>20.13396701751655</c:v>
                </c:pt>
                <c:pt idx="10">
                  <c:v>18.272844015897377</c:v>
                </c:pt>
                <c:pt idx="11">
                  <c:v>17.596072015308582</c:v>
                </c:pt>
                <c:pt idx="12">
                  <c:v>16.580914014425396</c:v>
                </c:pt>
                <c:pt idx="13">
                  <c:v>14.55059801265902</c:v>
                </c:pt>
                <c:pt idx="14">
                  <c:v>13.197054011481436</c:v>
                </c:pt>
                <c:pt idx="15">
                  <c:v>10.320773008979073</c:v>
                </c:pt>
                <c:pt idx="16">
                  <c:v>9.4748080082430839</c:v>
                </c:pt>
                <c:pt idx="17">
                  <c:v>8.1212640070655002</c:v>
                </c:pt>
                <c:pt idx="18">
                  <c:v>8.290457007212698</c:v>
                </c:pt>
                <c:pt idx="19">
                  <c:v>8.290457007212698</c:v>
                </c:pt>
                <c:pt idx="20">
                  <c:v>7.7828780067711039</c:v>
                </c:pt>
                <c:pt idx="21">
                  <c:v>5.2449830045631352</c:v>
                </c:pt>
                <c:pt idx="22">
                  <c:v>4.9065970042687397</c:v>
                </c:pt>
                <c:pt idx="23">
                  <c:v>4.2298250036799478</c:v>
                </c:pt>
                <c:pt idx="24">
                  <c:v>3.2146670027967605</c:v>
                </c:pt>
                <c:pt idx="25">
                  <c:v>3.0454740026495624</c:v>
                </c:pt>
                <c:pt idx="26">
                  <c:v>3.2146670027967605</c:v>
                </c:pt>
                <c:pt idx="27">
                  <c:v>2.7070880023551669</c:v>
                </c:pt>
                <c:pt idx="28">
                  <c:v>5.2449830045631352</c:v>
                </c:pt>
                <c:pt idx="29">
                  <c:v>6.7677200058879166</c:v>
                </c:pt>
                <c:pt idx="30">
                  <c:v>9.1364220079486884</c:v>
                </c:pt>
                <c:pt idx="31">
                  <c:v>12.181896010598249</c:v>
                </c:pt>
                <c:pt idx="32">
                  <c:v>13.197054011481436</c:v>
                </c:pt>
                <c:pt idx="33">
                  <c:v>13.704633011923031</c:v>
                </c:pt>
                <c:pt idx="34">
                  <c:v>16.411721014278196</c:v>
                </c:pt>
                <c:pt idx="35">
                  <c:v>15.058177013100615</c:v>
                </c:pt>
                <c:pt idx="36">
                  <c:v>19.457195016927759</c:v>
                </c:pt>
                <c:pt idx="37">
                  <c:v>21.487511018694132</c:v>
                </c:pt>
                <c:pt idx="38">
                  <c:v>25.04056402178529</c:v>
                </c:pt>
                <c:pt idx="39">
                  <c:v>27.409266023846062</c:v>
                </c:pt>
                <c:pt idx="40">
                  <c:v>29.94716102605403</c:v>
                </c:pt>
                <c:pt idx="41">
                  <c:v>32.992635028703596</c:v>
                </c:pt>
                <c:pt idx="42">
                  <c:v>37.560846032677937</c:v>
                </c:pt>
                <c:pt idx="43">
                  <c:v>37.053267032236342</c:v>
                </c:pt>
                <c:pt idx="44">
                  <c:v>37.222460032383538</c:v>
                </c:pt>
                <c:pt idx="45">
                  <c:v>34.007793029586779</c:v>
                </c:pt>
                <c:pt idx="46">
                  <c:v>36.207302031500348</c:v>
                </c:pt>
                <c:pt idx="47">
                  <c:v>35.022951030469969</c:v>
                </c:pt>
                <c:pt idx="48">
                  <c:v>34.007793029586779</c:v>
                </c:pt>
                <c:pt idx="49">
                  <c:v>34.007793029586779</c:v>
                </c:pt>
                <c:pt idx="50">
                  <c:v>35.192144030617165</c:v>
                </c:pt>
                <c:pt idx="51">
                  <c:v>32.992635028703596</c:v>
                </c:pt>
                <c:pt idx="52">
                  <c:v>34.176986029733975</c:v>
                </c:pt>
                <c:pt idx="53">
                  <c:v>30.285547026348429</c:v>
                </c:pt>
                <c:pt idx="54">
                  <c:v>28.932003025170843</c:v>
                </c:pt>
                <c:pt idx="55">
                  <c:v>27.747652024140457</c:v>
                </c:pt>
                <c:pt idx="56">
                  <c:v>27.747652024140457</c:v>
                </c:pt>
                <c:pt idx="57">
                  <c:v>26.732494023257271</c:v>
                </c:pt>
                <c:pt idx="58">
                  <c:v>29.608775025759634</c:v>
                </c:pt>
                <c:pt idx="59">
                  <c:v>29.101196025318039</c:v>
                </c:pt>
                <c:pt idx="60">
                  <c:v>28.932003025170843</c:v>
                </c:pt>
                <c:pt idx="61">
                  <c:v>29.777968025906834</c:v>
                </c:pt>
                <c:pt idx="62">
                  <c:v>28.762810025023644</c:v>
                </c:pt>
                <c:pt idx="63">
                  <c:v>26.732494023257271</c:v>
                </c:pt>
                <c:pt idx="64">
                  <c:v>22.841055019871717</c:v>
                </c:pt>
                <c:pt idx="65">
                  <c:v>19.28800201678056</c:v>
                </c:pt>
                <c:pt idx="66">
                  <c:v>16.750107014572592</c:v>
                </c:pt>
                <c:pt idx="67">
                  <c:v>15.904142013836603</c:v>
                </c:pt>
                <c:pt idx="68">
                  <c:v>14.55059801265902</c:v>
                </c:pt>
                <c:pt idx="69">
                  <c:v>13.197054011481436</c:v>
                </c:pt>
                <c:pt idx="70">
                  <c:v>11.335931009862259</c:v>
                </c:pt>
                <c:pt idx="71">
                  <c:v>10.48996600912627</c:v>
                </c:pt>
                <c:pt idx="72">
                  <c:v>10.48996600912627</c:v>
                </c:pt>
                <c:pt idx="73">
                  <c:v>10.828352009420668</c:v>
                </c:pt>
                <c:pt idx="74">
                  <c:v>10.997545009567864</c:v>
                </c:pt>
                <c:pt idx="75">
                  <c:v>11.335931009862259</c:v>
                </c:pt>
                <c:pt idx="76">
                  <c:v>12.181896010598249</c:v>
                </c:pt>
                <c:pt idx="77">
                  <c:v>12.520282010892645</c:v>
                </c:pt>
                <c:pt idx="78">
                  <c:v>11.843510010303854</c:v>
                </c:pt>
                <c:pt idx="79">
                  <c:v>10.828352009420668</c:v>
                </c:pt>
                <c:pt idx="80">
                  <c:v>9.1364220079486884</c:v>
                </c:pt>
                <c:pt idx="81">
                  <c:v>8.6288430075070934</c:v>
                </c:pt>
                <c:pt idx="82">
                  <c:v>8.4596500073598957</c:v>
                </c:pt>
                <c:pt idx="83">
                  <c:v>7.1061060061823129</c:v>
                </c:pt>
                <c:pt idx="84">
                  <c:v>6.0909480052991247</c:v>
                </c:pt>
                <c:pt idx="85">
                  <c:v>6.7677200058879166</c:v>
                </c:pt>
                <c:pt idx="86">
                  <c:v>6.9369130060351143</c:v>
                </c:pt>
                <c:pt idx="87">
                  <c:v>7.6136850066239052</c:v>
                </c:pt>
                <c:pt idx="88">
                  <c:v>8.4596500073598957</c:v>
                </c:pt>
                <c:pt idx="89">
                  <c:v>8.290457007212698</c:v>
                </c:pt>
                <c:pt idx="90">
                  <c:v>8.4596500073598957</c:v>
                </c:pt>
                <c:pt idx="91">
                  <c:v>9.4748080082430839</c:v>
                </c:pt>
                <c:pt idx="92">
                  <c:v>10.659159009273468</c:v>
                </c:pt>
                <c:pt idx="93">
                  <c:v>11.505124010009459</c:v>
                </c:pt>
                <c:pt idx="94">
                  <c:v>11.843510010303854</c:v>
                </c:pt>
                <c:pt idx="95">
                  <c:v>10.48996600912627</c:v>
                </c:pt>
                <c:pt idx="96">
                  <c:v>11.335931009862259</c:v>
                </c:pt>
                <c:pt idx="97">
                  <c:v>11.843510010303854</c:v>
                </c:pt>
                <c:pt idx="98">
                  <c:v>12.858668011187042</c:v>
                </c:pt>
                <c:pt idx="99">
                  <c:v>13.02786101133424</c:v>
                </c:pt>
                <c:pt idx="100">
                  <c:v>13.197054011481436</c:v>
                </c:pt>
                <c:pt idx="101">
                  <c:v>14.719791012806217</c:v>
                </c:pt>
                <c:pt idx="102">
                  <c:v>16.242528014131</c:v>
                </c:pt>
                <c:pt idx="103">
                  <c:v>15.734949013689405</c:v>
                </c:pt>
                <c:pt idx="104">
                  <c:v>18.611230016191769</c:v>
                </c:pt>
                <c:pt idx="105">
                  <c:v>21.318318018546936</c:v>
                </c:pt>
                <c:pt idx="106">
                  <c:v>23.179441020166113</c:v>
                </c:pt>
                <c:pt idx="107">
                  <c:v>28.424424024729252</c:v>
                </c:pt>
                <c:pt idx="108">
                  <c:v>27.578459023993261</c:v>
                </c:pt>
                <c:pt idx="109">
                  <c:v>27.240073023698862</c:v>
                </c:pt>
                <c:pt idx="110">
                  <c:v>27.916845024287657</c:v>
                </c:pt>
                <c:pt idx="111">
                  <c:v>28.255231024582052</c:v>
                </c:pt>
                <c:pt idx="112">
                  <c:v>26.394108022962872</c:v>
                </c:pt>
                <c:pt idx="113">
                  <c:v>25.548143022226885</c:v>
                </c:pt>
                <c:pt idx="114">
                  <c:v>21.656704018841335</c:v>
                </c:pt>
                <c:pt idx="115">
                  <c:v>22.671862019724518</c:v>
                </c:pt>
                <c:pt idx="116">
                  <c:v>24.194599021049299</c:v>
                </c:pt>
                <c:pt idx="117">
                  <c:v>25.548143022226885</c:v>
                </c:pt>
                <c:pt idx="118">
                  <c:v>25.548143022226885</c:v>
                </c:pt>
                <c:pt idx="119">
                  <c:v>24.871371021638094</c:v>
                </c:pt>
                <c:pt idx="120">
                  <c:v>27.578459023993261</c:v>
                </c:pt>
                <c:pt idx="121">
                  <c:v>31.131512027084415</c:v>
                </c:pt>
                <c:pt idx="122">
                  <c:v>36.207302031500348</c:v>
                </c:pt>
                <c:pt idx="123">
                  <c:v>37.222460032383538</c:v>
                </c:pt>
                <c:pt idx="124">
                  <c:v>36.376495031647551</c:v>
                </c:pt>
                <c:pt idx="125">
                  <c:v>41.113899035769087</c:v>
                </c:pt>
                <c:pt idx="126">
                  <c:v>46.18968904018503</c:v>
                </c:pt>
                <c:pt idx="127">
                  <c:v>47.20484704106822</c:v>
                </c:pt>
                <c:pt idx="128">
                  <c:v>47.712426041509815</c:v>
                </c:pt>
                <c:pt idx="129">
                  <c:v>47.20484704106822</c:v>
                </c:pt>
                <c:pt idx="130">
                  <c:v>50.588707044012175</c:v>
                </c:pt>
                <c:pt idx="131">
                  <c:v>50.08112804357058</c:v>
                </c:pt>
                <c:pt idx="132">
                  <c:v>54.649339047544927</c:v>
                </c:pt>
                <c:pt idx="133">
                  <c:v>63.954954055640812</c:v>
                </c:pt>
                <c:pt idx="134">
                  <c:v>72.583797063147912</c:v>
                </c:pt>
                <c:pt idx="135">
                  <c:v>83.581342072715771</c:v>
                </c:pt>
                <c:pt idx="136">
                  <c:v>95.932431083461225</c:v>
                </c:pt>
                <c:pt idx="137">
                  <c:v>99.823870086846767</c:v>
                </c:pt>
                <c:pt idx="138">
                  <c:v>104.89966009126272</c:v>
                </c:pt>
                <c:pt idx="139">
                  <c:v>112.68253809803382</c:v>
                </c:pt>
                <c:pt idx="140">
                  <c:v>131.63215411451998</c:v>
                </c:pt>
                <c:pt idx="141">
                  <c:v>149.22822612982856</c:v>
                </c:pt>
                <c:pt idx="142">
                  <c:v>173.08443915058345</c:v>
                </c:pt>
                <c:pt idx="143">
                  <c:v>192.71082716765844</c:v>
                </c:pt>
                <c:pt idx="144">
                  <c:v>201.50886317531271</c:v>
                </c:pt>
                <c:pt idx="145">
                  <c:v>212.50640818488057</c:v>
                </c:pt>
                <c:pt idx="146">
                  <c:v>236.70100720592987</c:v>
                </c:pt>
                <c:pt idx="147">
                  <c:v>259.54206222580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356-44D5-9D37-C4836F1D4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C$122:$C$274</c:f>
              <c:numCache>
                <c:formatCode>General</c:formatCode>
                <c:ptCount val="15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356-44D5-9D37-C4836F1D4B2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1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D$122:$D$274</c:f>
              <c:numCache>
                <c:formatCode>General</c:formatCode>
                <c:ptCount val="153"/>
                <c:pt idx="122">
                  <c:v>31.63909102752601</c:v>
                </c:pt>
                <c:pt idx="123">
                  <c:v>32.823442028556393</c:v>
                </c:pt>
                <c:pt idx="124">
                  <c:v>34.007793029586779</c:v>
                </c:pt>
                <c:pt idx="125">
                  <c:v>35.192144030617165</c:v>
                </c:pt>
                <c:pt idx="126">
                  <c:v>36.376495031647551</c:v>
                </c:pt>
                <c:pt idx="127">
                  <c:v>37.899232032972336</c:v>
                </c:pt>
                <c:pt idx="128">
                  <c:v>39.421969034297113</c:v>
                </c:pt>
                <c:pt idx="129">
                  <c:v>40.944706035621898</c:v>
                </c:pt>
                <c:pt idx="130">
                  <c:v>42.467443036946676</c:v>
                </c:pt>
                <c:pt idx="131">
                  <c:v>43.990180038271454</c:v>
                </c:pt>
                <c:pt idx="132">
                  <c:v>45.682110039743435</c:v>
                </c:pt>
                <c:pt idx="133">
                  <c:v>47.543233041362612</c:v>
                </c:pt>
                <c:pt idx="134">
                  <c:v>49.235163042834593</c:v>
                </c:pt>
                <c:pt idx="135">
                  <c:v>51.09628604445377</c:v>
                </c:pt>
                <c:pt idx="136">
                  <c:v>52.957409046072954</c:v>
                </c:pt>
                <c:pt idx="137">
                  <c:v>54.818532047692123</c:v>
                </c:pt>
                <c:pt idx="138">
                  <c:v>56.848848049458503</c:v>
                </c:pt>
                <c:pt idx="139">
                  <c:v>58.879164051224869</c:v>
                </c:pt>
                <c:pt idx="140">
                  <c:v>60.909480052991242</c:v>
                </c:pt>
                <c:pt idx="141">
                  <c:v>63.108989054904818</c:v>
                </c:pt>
                <c:pt idx="142">
                  <c:v>65.308498056818394</c:v>
                </c:pt>
                <c:pt idx="143">
                  <c:v>67.677200058879166</c:v>
                </c:pt>
                <c:pt idx="144">
                  <c:v>70.215095061087126</c:v>
                </c:pt>
                <c:pt idx="145">
                  <c:v>72.752990063295101</c:v>
                </c:pt>
                <c:pt idx="146">
                  <c:v>75.460078065650265</c:v>
                </c:pt>
                <c:pt idx="147">
                  <c:v>78.167166068005429</c:v>
                </c:pt>
                <c:pt idx="148">
                  <c:v>81.043447070507796</c:v>
                </c:pt>
                <c:pt idx="149">
                  <c:v>84.088921073157366</c:v>
                </c:pt>
                <c:pt idx="150">
                  <c:v>86.965202075659718</c:v>
                </c:pt>
                <c:pt idx="151">
                  <c:v>90.010676078309288</c:v>
                </c:pt>
                <c:pt idx="152">
                  <c:v>93.2253430811060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356-44D5-9D37-C4836F1D4B2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E$122:$E$274</c:f>
              <c:numCache>
                <c:formatCode>General</c:formatCode>
                <c:ptCount val="153"/>
                <c:pt idx="122">
                  <c:v>31.808284027673206</c:v>
                </c:pt>
                <c:pt idx="123">
                  <c:v>33.331021028997988</c:v>
                </c:pt>
                <c:pt idx="124">
                  <c:v>34.853758030322766</c:v>
                </c:pt>
                <c:pt idx="125">
                  <c:v>36.545688031794754</c:v>
                </c:pt>
                <c:pt idx="126">
                  <c:v>38.237618033266727</c:v>
                </c:pt>
                <c:pt idx="127">
                  <c:v>40.2679340350331</c:v>
                </c:pt>
                <c:pt idx="128">
                  <c:v>42.636636037093872</c:v>
                </c:pt>
                <c:pt idx="129">
                  <c:v>44.836145039007448</c:v>
                </c:pt>
                <c:pt idx="130">
                  <c:v>47.035654040921017</c:v>
                </c:pt>
                <c:pt idx="131">
                  <c:v>49.573549043128985</c:v>
                </c:pt>
                <c:pt idx="132">
                  <c:v>52.11144404533696</c:v>
                </c:pt>
                <c:pt idx="133">
                  <c:v>54.987725047839319</c:v>
                </c:pt>
                <c:pt idx="134">
                  <c:v>58.033199050488882</c:v>
                </c:pt>
                <c:pt idx="135">
                  <c:v>60.909480052991242</c:v>
                </c:pt>
                <c:pt idx="136">
                  <c:v>63.954954055640812</c:v>
                </c:pt>
                <c:pt idx="137">
                  <c:v>67.338814058584774</c:v>
                </c:pt>
                <c:pt idx="138">
                  <c:v>70.722674061528721</c:v>
                </c:pt>
                <c:pt idx="139">
                  <c:v>74.275727064619886</c:v>
                </c:pt>
                <c:pt idx="140">
                  <c:v>77.99797306785824</c:v>
                </c:pt>
                <c:pt idx="141">
                  <c:v>81.889412071243797</c:v>
                </c:pt>
                <c:pt idx="142">
                  <c:v>86.119237074923745</c:v>
                </c:pt>
                <c:pt idx="143">
                  <c:v>90.518255078750883</c:v>
                </c:pt>
                <c:pt idx="144">
                  <c:v>95.086466082725224</c:v>
                </c:pt>
                <c:pt idx="145">
                  <c:v>99.993063086993956</c:v>
                </c:pt>
                <c:pt idx="146">
                  <c:v>105.23804609155709</c:v>
                </c:pt>
                <c:pt idx="147">
                  <c:v>110.65222209626744</c:v>
                </c:pt>
                <c:pt idx="148">
                  <c:v>116.23559110112497</c:v>
                </c:pt>
                <c:pt idx="149">
                  <c:v>122.1573461062769</c:v>
                </c:pt>
                <c:pt idx="150">
                  <c:v>128.4174871117232</c:v>
                </c:pt>
                <c:pt idx="151">
                  <c:v>134.84682111731672</c:v>
                </c:pt>
                <c:pt idx="152">
                  <c:v>141.614541123204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356-44D5-9D37-C4836F1D4B2F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F$122:$F$274</c:f>
              <c:numCache>
                <c:formatCode>General</c:formatCode>
                <c:ptCount val="153"/>
                <c:pt idx="122">
                  <c:v>31.977477027820406</c:v>
                </c:pt>
                <c:pt idx="123">
                  <c:v>33.669407029292387</c:v>
                </c:pt>
                <c:pt idx="124">
                  <c:v>35.530530030911564</c:v>
                </c:pt>
                <c:pt idx="125">
                  <c:v>37.560846032677937</c:v>
                </c:pt>
                <c:pt idx="126">
                  <c:v>39.760355034591512</c:v>
                </c:pt>
                <c:pt idx="127">
                  <c:v>42.467443036946676</c:v>
                </c:pt>
                <c:pt idx="128">
                  <c:v>45.682110039743435</c:v>
                </c:pt>
                <c:pt idx="129">
                  <c:v>48.727584042392998</c:v>
                </c:pt>
                <c:pt idx="130">
                  <c:v>51.942251045189764</c:v>
                </c:pt>
                <c:pt idx="131">
                  <c:v>55.326111048133718</c:v>
                </c:pt>
                <c:pt idx="132">
                  <c:v>59.048357051372072</c:v>
                </c:pt>
                <c:pt idx="133">
                  <c:v>63.108989054904818</c:v>
                </c:pt>
                <c:pt idx="134">
                  <c:v>67.338814058584774</c:v>
                </c:pt>
                <c:pt idx="135">
                  <c:v>71.737832062411911</c:v>
                </c:pt>
                <c:pt idx="136">
                  <c:v>76.306043066386266</c:v>
                </c:pt>
                <c:pt idx="137">
                  <c:v>81.212640070654999</c:v>
                </c:pt>
                <c:pt idx="138">
                  <c:v>86.62681607536534</c:v>
                </c:pt>
                <c:pt idx="139">
                  <c:v>92.210185080222857</c:v>
                </c:pt>
                <c:pt idx="140">
                  <c:v>98.301133085521997</c:v>
                </c:pt>
                <c:pt idx="141">
                  <c:v>104.7304670911155</c:v>
                </c:pt>
                <c:pt idx="142">
                  <c:v>111.49818709700342</c:v>
                </c:pt>
                <c:pt idx="143">
                  <c:v>118.77348610333293</c:v>
                </c:pt>
                <c:pt idx="144">
                  <c:v>126.55636411010404</c:v>
                </c:pt>
                <c:pt idx="145">
                  <c:v>134.67762811716955</c:v>
                </c:pt>
                <c:pt idx="146">
                  <c:v>143.47566412482382</c:v>
                </c:pt>
                <c:pt idx="147">
                  <c:v>152.61208613277253</c:v>
                </c:pt>
                <c:pt idx="148">
                  <c:v>162.42528014131</c:v>
                </c:pt>
                <c:pt idx="149">
                  <c:v>172.91524615043625</c:v>
                </c:pt>
                <c:pt idx="150">
                  <c:v>184.08198416015134</c:v>
                </c:pt>
                <c:pt idx="151">
                  <c:v>195.92549417045518</c:v>
                </c:pt>
                <c:pt idx="152">
                  <c:v>208.614969181495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9356-44D5-9D37-C4836F1D4B2F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4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G$122:$G$274</c:f>
              <c:numCache>
                <c:formatCode>General</c:formatCode>
                <c:ptCount val="153"/>
                <c:pt idx="122">
                  <c:v>31.977477027820406</c:v>
                </c:pt>
                <c:pt idx="123">
                  <c:v>33.669407029292387</c:v>
                </c:pt>
                <c:pt idx="124">
                  <c:v>35.530530030911564</c:v>
                </c:pt>
                <c:pt idx="125">
                  <c:v>37.560846032677937</c:v>
                </c:pt>
                <c:pt idx="126">
                  <c:v>39.760355034591512</c:v>
                </c:pt>
                <c:pt idx="127">
                  <c:v>42.467443036946676</c:v>
                </c:pt>
                <c:pt idx="128">
                  <c:v>45.682110039743435</c:v>
                </c:pt>
                <c:pt idx="129">
                  <c:v>48.727584042392998</c:v>
                </c:pt>
                <c:pt idx="130">
                  <c:v>51.942251045189764</c:v>
                </c:pt>
                <c:pt idx="131">
                  <c:v>55.326111048133718</c:v>
                </c:pt>
                <c:pt idx="132">
                  <c:v>59.048357051372072</c:v>
                </c:pt>
                <c:pt idx="133">
                  <c:v>63.785761055493616</c:v>
                </c:pt>
                <c:pt idx="134">
                  <c:v>69.199937060203936</c:v>
                </c:pt>
                <c:pt idx="135">
                  <c:v>75.121692065355873</c:v>
                </c:pt>
                <c:pt idx="136">
                  <c:v>81.381833070802202</c:v>
                </c:pt>
                <c:pt idx="137">
                  <c:v>88.487939076984503</c:v>
                </c:pt>
                <c:pt idx="138">
                  <c:v>96.609203084050009</c:v>
                </c:pt>
                <c:pt idx="139">
                  <c:v>105.74562509199869</c:v>
                </c:pt>
                <c:pt idx="140">
                  <c:v>115.55881910053617</c:v>
                </c:pt>
                <c:pt idx="141">
                  <c:v>125.87959210951524</c:v>
                </c:pt>
                <c:pt idx="142">
                  <c:v>137.0463301192303</c:v>
                </c:pt>
                <c:pt idx="143">
                  <c:v>149.56661213012296</c:v>
                </c:pt>
                <c:pt idx="144">
                  <c:v>163.44043814219319</c:v>
                </c:pt>
                <c:pt idx="145">
                  <c:v>178.49861515529378</c:v>
                </c:pt>
                <c:pt idx="146">
                  <c:v>194.91033616957199</c:v>
                </c:pt>
                <c:pt idx="147">
                  <c:v>212.3372151847334</c:v>
                </c:pt>
                <c:pt idx="148">
                  <c:v>231.62521720151395</c:v>
                </c:pt>
                <c:pt idx="149">
                  <c:v>252.60514921976647</c:v>
                </c:pt>
                <c:pt idx="150">
                  <c:v>275.61539723978541</c:v>
                </c:pt>
                <c:pt idx="151">
                  <c:v>300.65596126157067</c:v>
                </c:pt>
                <c:pt idx="152">
                  <c:v>327.89603428526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9356-44D5-9D37-C4836F1D4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40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B$244:$B$427</c:f>
              <c:numCache>
                <c:formatCode>0</c:formatCode>
                <c:ptCount val="184"/>
                <c:pt idx="0">
                  <c:v>27</c:v>
                </c:pt>
                <c:pt idx="1">
                  <c:v>1</c:v>
                </c:pt>
                <c:pt idx="2">
                  <c:v>8</c:v>
                </c:pt>
                <c:pt idx="3">
                  <c:v>26</c:v>
                </c:pt>
                <c:pt idx="4">
                  <c:v>30</c:v>
                </c:pt>
                <c:pt idx="5">
                  <c:v>9</c:v>
                </c:pt>
                <c:pt idx="6">
                  <c:v>14</c:v>
                </c:pt>
                <c:pt idx="7">
                  <c:v>10</c:v>
                </c:pt>
                <c:pt idx="8">
                  <c:v>1</c:v>
                </c:pt>
                <c:pt idx="9">
                  <c:v>26</c:v>
                </c:pt>
                <c:pt idx="10">
                  <c:v>8</c:v>
                </c:pt>
                <c:pt idx="11">
                  <c:v>20</c:v>
                </c:pt>
                <c:pt idx="12">
                  <c:v>12</c:v>
                </c:pt>
                <c:pt idx="13">
                  <c:v>7</c:v>
                </c:pt>
                <c:pt idx="14">
                  <c:v>16</c:v>
                </c:pt>
                <c:pt idx="15">
                  <c:v>0</c:v>
                </c:pt>
                <c:pt idx="16">
                  <c:v>15</c:v>
                </c:pt>
                <c:pt idx="17">
                  <c:v>20</c:v>
                </c:pt>
                <c:pt idx="18">
                  <c:v>3</c:v>
                </c:pt>
                <c:pt idx="19">
                  <c:v>1</c:v>
                </c:pt>
                <c:pt idx="20">
                  <c:v>5</c:v>
                </c:pt>
                <c:pt idx="21">
                  <c:v>0</c:v>
                </c:pt>
                <c:pt idx="22">
                  <c:v>0</c:v>
                </c:pt>
                <c:pt idx="23">
                  <c:v>2</c:v>
                </c:pt>
                <c:pt idx="24">
                  <c:v>2</c:v>
                </c:pt>
                <c:pt idx="25">
                  <c:v>3</c:v>
                </c:pt>
                <c:pt idx="26">
                  <c:v>3</c:v>
                </c:pt>
                <c:pt idx="27">
                  <c:v>7</c:v>
                </c:pt>
                <c:pt idx="28">
                  <c:v>0</c:v>
                </c:pt>
                <c:pt idx="29">
                  <c:v>0</c:v>
                </c:pt>
                <c:pt idx="30">
                  <c:v>1</c:v>
                </c:pt>
                <c:pt idx="31">
                  <c:v>2</c:v>
                </c:pt>
                <c:pt idx="32">
                  <c:v>3</c:v>
                </c:pt>
                <c:pt idx="33">
                  <c:v>0</c:v>
                </c:pt>
                <c:pt idx="34">
                  <c:v>2</c:v>
                </c:pt>
                <c:pt idx="35">
                  <c:v>1</c:v>
                </c:pt>
                <c:pt idx="36">
                  <c:v>2</c:v>
                </c:pt>
                <c:pt idx="37">
                  <c:v>5</c:v>
                </c:pt>
                <c:pt idx="38">
                  <c:v>0</c:v>
                </c:pt>
                <c:pt idx="39">
                  <c:v>4</c:v>
                </c:pt>
                <c:pt idx="40">
                  <c:v>4</c:v>
                </c:pt>
                <c:pt idx="41">
                  <c:v>2</c:v>
                </c:pt>
                <c:pt idx="42">
                  <c:v>0</c:v>
                </c:pt>
                <c:pt idx="43">
                  <c:v>1</c:v>
                </c:pt>
                <c:pt idx="44">
                  <c:v>1</c:v>
                </c:pt>
                <c:pt idx="45">
                  <c:v>4</c:v>
                </c:pt>
                <c:pt idx="46">
                  <c:v>0</c:v>
                </c:pt>
                <c:pt idx="47">
                  <c:v>0</c:v>
                </c:pt>
                <c:pt idx="48">
                  <c:v>1</c:v>
                </c:pt>
                <c:pt idx="49">
                  <c:v>0</c:v>
                </c:pt>
                <c:pt idx="50">
                  <c:v>0</c:v>
                </c:pt>
                <c:pt idx="51">
                  <c:v>1</c:v>
                </c:pt>
                <c:pt idx="52">
                  <c:v>0</c:v>
                </c:pt>
                <c:pt idx="53">
                  <c:v>1</c:v>
                </c:pt>
                <c:pt idx="54">
                  <c:v>0</c:v>
                </c:pt>
                <c:pt idx="55">
                  <c:v>0</c:v>
                </c:pt>
                <c:pt idx="56">
                  <c:v>2</c:v>
                </c:pt>
                <c:pt idx="57">
                  <c:v>0</c:v>
                </c:pt>
                <c:pt idx="58">
                  <c:v>3</c:v>
                </c:pt>
                <c:pt idx="59">
                  <c:v>2</c:v>
                </c:pt>
                <c:pt idx="60">
                  <c:v>2</c:v>
                </c:pt>
                <c:pt idx="61">
                  <c:v>0</c:v>
                </c:pt>
                <c:pt idx="62">
                  <c:v>2</c:v>
                </c:pt>
                <c:pt idx="63">
                  <c:v>3</c:v>
                </c:pt>
                <c:pt idx="64">
                  <c:v>0</c:v>
                </c:pt>
                <c:pt idx="65">
                  <c:v>1</c:v>
                </c:pt>
                <c:pt idx="66">
                  <c:v>2</c:v>
                </c:pt>
                <c:pt idx="67">
                  <c:v>2</c:v>
                </c:pt>
                <c:pt idx="68">
                  <c:v>1</c:v>
                </c:pt>
                <c:pt idx="69">
                  <c:v>2</c:v>
                </c:pt>
                <c:pt idx="70">
                  <c:v>1</c:v>
                </c:pt>
                <c:pt idx="71">
                  <c:v>0</c:v>
                </c:pt>
                <c:pt idx="72">
                  <c:v>3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7</c:v>
                </c:pt>
                <c:pt idx="78">
                  <c:v>2</c:v>
                </c:pt>
                <c:pt idx="79">
                  <c:v>2</c:v>
                </c:pt>
                <c:pt idx="80">
                  <c:v>4</c:v>
                </c:pt>
                <c:pt idx="81">
                  <c:v>11</c:v>
                </c:pt>
                <c:pt idx="82">
                  <c:v>4</c:v>
                </c:pt>
                <c:pt idx="83">
                  <c:v>1</c:v>
                </c:pt>
                <c:pt idx="84">
                  <c:v>3</c:v>
                </c:pt>
                <c:pt idx="85">
                  <c:v>1</c:v>
                </c:pt>
                <c:pt idx="86">
                  <c:v>3</c:v>
                </c:pt>
                <c:pt idx="87">
                  <c:v>3</c:v>
                </c:pt>
                <c:pt idx="88">
                  <c:v>0</c:v>
                </c:pt>
                <c:pt idx="89">
                  <c:v>3</c:v>
                </c:pt>
                <c:pt idx="90">
                  <c:v>1</c:v>
                </c:pt>
                <c:pt idx="91">
                  <c:v>2</c:v>
                </c:pt>
                <c:pt idx="92">
                  <c:v>0</c:v>
                </c:pt>
                <c:pt idx="93">
                  <c:v>0</c:v>
                </c:pt>
                <c:pt idx="94">
                  <c:v>3</c:v>
                </c:pt>
                <c:pt idx="95">
                  <c:v>1</c:v>
                </c:pt>
                <c:pt idx="96">
                  <c:v>3</c:v>
                </c:pt>
                <c:pt idx="97">
                  <c:v>2</c:v>
                </c:pt>
                <c:pt idx="98">
                  <c:v>2</c:v>
                </c:pt>
                <c:pt idx="99">
                  <c:v>0</c:v>
                </c:pt>
                <c:pt idx="100">
                  <c:v>1</c:v>
                </c:pt>
                <c:pt idx="101">
                  <c:v>10</c:v>
                </c:pt>
                <c:pt idx="102">
                  <c:v>9</c:v>
                </c:pt>
                <c:pt idx="103">
                  <c:v>5</c:v>
                </c:pt>
                <c:pt idx="104">
                  <c:v>5</c:v>
                </c:pt>
                <c:pt idx="105">
                  <c:v>4</c:v>
                </c:pt>
                <c:pt idx="106">
                  <c:v>0</c:v>
                </c:pt>
                <c:pt idx="107">
                  <c:v>1</c:v>
                </c:pt>
                <c:pt idx="108">
                  <c:v>11</c:v>
                </c:pt>
                <c:pt idx="109">
                  <c:v>6</c:v>
                </c:pt>
                <c:pt idx="110">
                  <c:v>2</c:v>
                </c:pt>
                <c:pt idx="111">
                  <c:v>7</c:v>
                </c:pt>
                <c:pt idx="112">
                  <c:v>5</c:v>
                </c:pt>
                <c:pt idx="113">
                  <c:v>0</c:v>
                </c:pt>
                <c:pt idx="114">
                  <c:v>6</c:v>
                </c:pt>
                <c:pt idx="115">
                  <c:v>10</c:v>
                </c:pt>
                <c:pt idx="116">
                  <c:v>4</c:v>
                </c:pt>
                <c:pt idx="117">
                  <c:v>2</c:v>
                </c:pt>
                <c:pt idx="118">
                  <c:v>7</c:v>
                </c:pt>
                <c:pt idx="119">
                  <c:v>3</c:v>
                </c:pt>
                <c:pt idx="120">
                  <c:v>3</c:v>
                </c:pt>
                <c:pt idx="121">
                  <c:v>14</c:v>
                </c:pt>
                <c:pt idx="122">
                  <c:v>16</c:v>
                </c:pt>
                <c:pt idx="123">
                  <c:v>14</c:v>
                </c:pt>
                <c:pt idx="124">
                  <c:v>23</c:v>
                </c:pt>
                <c:pt idx="125">
                  <c:v>12</c:v>
                </c:pt>
                <c:pt idx="126">
                  <c:v>13</c:v>
                </c:pt>
                <c:pt idx="127">
                  <c:v>3</c:v>
                </c:pt>
                <c:pt idx="128">
                  <c:v>17</c:v>
                </c:pt>
                <c:pt idx="129">
                  <c:v>32</c:v>
                </c:pt>
                <c:pt idx="130">
                  <c:v>24</c:v>
                </c:pt>
                <c:pt idx="131">
                  <c:v>24</c:v>
                </c:pt>
                <c:pt idx="132">
                  <c:v>19</c:v>
                </c:pt>
                <c:pt idx="133">
                  <c:v>21</c:v>
                </c:pt>
                <c:pt idx="134">
                  <c:v>5</c:v>
                </c:pt>
                <c:pt idx="135">
                  <c:v>14</c:v>
                </c:pt>
                <c:pt idx="136">
                  <c:v>11</c:v>
                </c:pt>
                <c:pt idx="137">
                  <c:v>28</c:v>
                </c:pt>
                <c:pt idx="138">
                  <c:v>18</c:v>
                </c:pt>
                <c:pt idx="139">
                  <c:v>9</c:v>
                </c:pt>
                <c:pt idx="140">
                  <c:v>7</c:v>
                </c:pt>
                <c:pt idx="141">
                  <c:v>6</c:v>
                </c:pt>
                <c:pt idx="142">
                  <c:v>6</c:v>
                </c:pt>
                <c:pt idx="143">
                  <c:v>17</c:v>
                </c:pt>
                <c:pt idx="144">
                  <c:v>14</c:v>
                </c:pt>
                <c:pt idx="145">
                  <c:v>9</c:v>
                </c:pt>
                <c:pt idx="146">
                  <c:v>5</c:v>
                </c:pt>
                <c:pt idx="147">
                  <c:v>11</c:v>
                </c:pt>
                <c:pt idx="148">
                  <c:v>0</c:v>
                </c:pt>
                <c:pt idx="149">
                  <c:v>6</c:v>
                </c:pt>
                <c:pt idx="150">
                  <c:v>11</c:v>
                </c:pt>
                <c:pt idx="151">
                  <c:v>4</c:v>
                </c:pt>
                <c:pt idx="152">
                  <c:v>6</c:v>
                </c:pt>
                <c:pt idx="153">
                  <c:v>3</c:v>
                </c:pt>
                <c:pt idx="154">
                  <c:v>3</c:v>
                </c:pt>
                <c:pt idx="155">
                  <c:v>3</c:v>
                </c:pt>
                <c:pt idx="156">
                  <c:v>8</c:v>
                </c:pt>
                <c:pt idx="157">
                  <c:v>10</c:v>
                </c:pt>
                <c:pt idx="158">
                  <c:v>10</c:v>
                </c:pt>
                <c:pt idx="159">
                  <c:v>11</c:v>
                </c:pt>
                <c:pt idx="160">
                  <c:v>17</c:v>
                </c:pt>
                <c:pt idx="161">
                  <c:v>13</c:v>
                </c:pt>
                <c:pt idx="162">
                  <c:v>0</c:v>
                </c:pt>
                <c:pt idx="163">
                  <c:v>16</c:v>
                </c:pt>
                <c:pt idx="164">
                  <c:v>24</c:v>
                </c:pt>
                <c:pt idx="165">
                  <c:v>9</c:v>
                </c:pt>
                <c:pt idx="166">
                  <c:v>27</c:v>
                </c:pt>
                <c:pt idx="167">
                  <c:v>20</c:v>
                </c:pt>
                <c:pt idx="168">
                  <c:v>24</c:v>
                </c:pt>
                <c:pt idx="169">
                  <c:v>7</c:v>
                </c:pt>
                <c:pt idx="170">
                  <c:v>25</c:v>
                </c:pt>
                <c:pt idx="171">
                  <c:v>36</c:v>
                </c:pt>
                <c:pt idx="172">
                  <c:v>26</c:v>
                </c:pt>
                <c:pt idx="173">
                  <c:v>40</c:v>
                </c:pt>
                <c:pt idx="174">
                  <c:v>31</c:v>
                </c:pt>
                <c:pt idx="175">
                  <c:v>32</c:v>
                </c:pt>
                <c:pt idx="176">
                  <c:v>10</c:v>
                </c:pt>
                <c:pt idx="177">
                  <c:v>31</c:v>
                </c:pt>
                <c:pt idx="178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E4D-492F-9EB6-DD67D53037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C$244:$C$427</c:f>
              <c:numCache>
                <c:formatCode>General</c:formatCode>
                <c:ptCount val="18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E4D-492F-9EB6-DD67D53037D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D$244:$D$427</c:f>
              <c:numCache>
                <c:formatCode>General</c:formatCode>
                <c:ptCount val="184"/>
                <c:pt idx="73">
                  <c:v>0</c:v>
                </c:pt>
                <c:pt idx="153">
                  <c:v>9</c:v>
                </c:pt>
                <c:pt idx="154">
                  <c:v>9</c:v>
                </c:pt>
                <c:pt idx="155">
                  <c:v>9</c:v>
                </c:pt>
                <c:pt idx="156">
                  <c:v>10</c:v>
                </c:pt>
                <c:pt idx="157">
                  <c:v>10</c:v>
                </c:pt>
                <c:pt idx="158">
                  <c:v>10</c:v>
                </c:pt>
                <c:pt idx="159">
                  <c:v>11</c:v>
                </c:pt>
                <c:pt idx="160">
                  <c:v>11</c:v>
                </c:pt>
                <c:pt idx="161">
                  <c:v>12</c:v>
                </c:pt>
                <c:pt idx="162">
                  <c:v>12</c:v>
                </c:pt>
                <c:pt idx="163">
                  <c:v>13</c:v>
                </c:pt>
                <c:pt idx="164">
                  <c:v>13</c:v>
                </c:pt>
                <c:pt idx="165">
                  <c:v>13</c:v>
                </c:pt>
                <c:pt idx="166">
                  <c:v>14</c:v>
                </c:pt>
                <c:pt idx="167">
                  <c:v>14</c:v>
                </c:pt>
                <c:pt idx="168">
                  <c:v>15</c:v>
                </c:pt>
                <c:pt idx="169">
                  <c:v>16</c:v>
                </c:pt>
                <c:pt idx="170">
                  <c:v>16</c:v>
                </c:pt>
                <c:pt idx="171">
                  <c:v>17</c:v>
                </c:pt>
                <c:pt idx="172">
                  <c:v>17</c:v>
                </c:pt>
                <c:pt idx="173">
                  <c:v>18</c:v>
                </c:pt>
                <c:pt idx="174">
                  <c:v>19</c:v>
                </c:pt>
                <c:pt idx="175">
                  <c:v>19</c:v>
                </c:pt>
                <c:pt idx="176">
                  <c:v>20</c:v>
                </c:pt>
                <c:pt idx="177">
                  <c:v>21</c:v>
                </c:pt>
                <c:pt idx="178">
                  <c:v>21</c:v>
                </c:pt>
                <c:pt idx="179">
                  <c:v>22</c:v>
                </c:pt>
                <c:pt idx="180">
                  <c:v>23</c:v>
                </c:pt>
                <c:pt idx="181">
                  <c:v>24</c:v>
                </c:pt>
                <c:pt idx="182">
                  <c:v>25</c:v>
                </c:pt>
                <c:pt idx="183">
                  <c:v>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E4D-492F-9EB6-DD67D53037D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E$244:$E$427</c:f>
              <c:numCache>
                <c:formatCode>General</c:formatCode>
                <c:ptCount val="184"/>
                <c:pt idx="153">
                  <c:v>9</c:v>
                </c:pt>
                <c:pt idx="154">
                  <c:v>9</c:v>
                </c:pt>
                <c:pt idx="155">
                  <c:v>10</c:v>
                </c:pt>
                <c:pt idx="156">
                  <c:v>10</c:v>
                </c:pt>
                <c:pt idx="157">
                  <c:v>11</c:v>
                </c:pt>
                <c:pt idx="158">
                  <c:v>11</c:v>
                </c:pt>
                <c:pt idx="159">
                  <c:v>12</c:v>
                </c:pt>
                <c:pt idx="160">
                  <c:v>13</c:v>
                </c:pt>
                <c:pt idx="161">
                  <c:v>13</c:v>
                </c:pt>
                <c:pt idx="162">
                  <c:v>14</c:v>
                </c:pt>
                <c:pt idx="163">
                  <c:v>15</c:v>
                </c:pt>
                <c:pt idx="164">
                  <c:v>16</c:v>
                </c:pt>
                <c:pt idx="165">
                  <c:v>16</c:v>
                </c:pt>
                <c:pt idx="166">
                  <c:v>17</c:v>
                </c:pt>
                <c:pt idx="167">
                  <c:v>18</c:v>
                </c:pt>
                <c:pt idx="168">
                  <c:v>19</c:v>
                </c:pt>
                <c:pt idx="169">
                  <c:v>20</c:v>
                </c:pt>
                <c:pt idx="170">
                  <c:v>21</c:v>
                </c:pt>
                <c:pt idx="171">
                  <c:v>22</c:v>
                </c:pt>
                <c:pt idx="172">
                  <c:v>23</c:v>
                </c:pt>
                <c:pt idx="173">
                  <c:v>25</c:v>
                </c:pt>
                <c:pt idx="174">
                  <c:v>26</c:v>
                </c:pt>
                <c:pt idx="175">
                  <c:v>27</c:v>
                </c:pt>
                <c:pt idx="176">
                  <c:v>28</c:v>
                </c:pt>
                <c:pt idx="177">
                  <c:v>30</c:v>
                </c:pt>
                <c:pt idx="178">
                  <c:v>31</c:v>
                </c:pt>
                <c:pt idx="179">
                  <c:v>33</c:v>
                </c:pt>
                <c:pt idx="180">
                  <c:v>35</c:v>
                </c:pt>
                <c:pt idx="181">
                  <c:v>36</c:v>
                </c:pt>
                <c:pt idx="182">
                  <c:v>38</c:v>
                </c:pt>
                <c:pt idx="183">
                  <c:v>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E4D-492F-9EB6-DD67D53037D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F$244:$F$427</c:f>
              <c:numCache>
                <c:formatCode>General</c:formatCode>
                <c:ptCount val="184"/>
                <c:pt idx="153">
                  <c:v>9</c:v>
                </c:pt>
                <c:pt idx="154">
                  <c:v>10</c:v>
                </c:pt>
                <c:pt idx="155">
                  <c:v>11</c:v>
                </c:pt>
                <c:pt idx="156">
                  <c:v>11</c:v>
                </c:pt>
                <c:pt idx="157">
                  <c:v>12</c:v>
                </c:pt>
                <c:pt idx="158">
                  <c:v>13</c:v>
                </c:pt>
                <c:pt idx="159">
                  <c:v>14</c:v>
                </c:pt>
                <c:pt idx="160">
                  <c:v>15</c:v>
                </c:pt>
                <c:pt idx="161">
                  <c:v>15</c:v>
                </c:pt>
                <c:pt idx="162">
                  <c:v>16</c:v>
                </c:pt>
                <c:pt idx="163">
                  <c:v>17</c:v>
                </c:pt>
                <c:pt idx="164">
                  <c:v>19</c:v>
                </c:pt>
                <c:pt idx="165">
                  <c:v>20</c:v>
                </c:pt>
                <c:pt idx="166">
                  <c:v>21</c:v>
                </c:pt>
                <c:pt idx="167">
                  <c:v>23</c:v>
                </c:pt>
                <c:pt idx="168">
                  <c:v>24</c:v>
                </c:pt>
                <c:pt idx="169">
                  <c:v>26</c:v>
                </c:pt>
                <c:pt idx="170">
                  <c:v>27</c:v>
                </c:pt>
                <c:pt idx="171">
                  <c:v>29</c:v>
                </c:pt>
                <c:pt idx="172">
                  <c:v>31</c:v>
                </c:pt>
                <c:pt idx="173">
                  <c:v>33</c:v>
                </c:pt>
                <c:pt idx="174">
                  <c:v>35</c:v>
                </c:pt>
                <c:pt idx="175">
                  <c:v>37</c:v>
                </c:pt>
                <c:pt idx="176">
                  <c:v>40</c:v>
                </c:pt>
                <c:pt idx="177">
                  <c:v>42</c:v>
                </c:pt>
                <c:pt idx="178">
                  <c:v>45</c:v>
                </c:pt>
                <c:pt idx="179">
                  <c:v>48</c:v>
                </c:pt>
                <c:pt idx="180">
                  <c:v>51</c:v>
                </c:pt>
                <c:pt idx="181">
                  <c:v>54</c:v>
                </c:pt>
                <c:pt idx="182">
                  <c:v>58</c:v>
                </c:pt>
                <c:pt idx="183">
                  <c:v>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E4D-492F-9EB6-DD67D53037DC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4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G$244:$G$427</c:f>
              <c:numCache>
                <c:formatCode>General</c:formatCode>
                <c:ptCount val="184"/>
                <c:pt idx="153">
                  <c:v>9</c:v>
                </c:pt>
                <c:pt idx="154">
                  <c:v>10</c:v>
                </c:pt>
                <c:pt idx="155">
                  <c:v>11</c:v>
                </c:pt>
                <c:pt idx="156">
                  <c:v>11</c:v>
                </c:pt>
                <c:pt idx="157">
                  <c:v>12</c:v>
                </c:pt>
                <c:pt idx="158">
                  <c:v>13</c:v>
                </c:pt>
                <c:pt idx="159">
                  <c:v>14</c:v>
                </c:pt>
                <c:pt idx="160">
                  <c:v>15</c:v>
                </c:pt>
                <c:pt idx="161">
                  <c:v>15</c:v>
                </c:pt>
                <c:pt idx="162">
                  <c:v>16</c:v>
                </c:pt>
                <c:pt idx="163">
                  <c:v>17</c:v>
                </c:pt>
                <c:pt idx="164">
                  <c:v>20</c:v>
                </c:pt>
                <c:pt idx="165">
                  <c:v>22</c:v>
                </c:pt>
                <c:pt idx="166">
                  <c:v>24</c:v>
                </c:pt>
                <c:pt idx="167">
                  <c:v>25</c:v>
                </c:pt>
                <c:pt idx="168">
                  <c:v>28</c:v>
                </c:pt>
                <c:pt idx="169">
                  <c:v>30</c:v>
                </c:pt>
                <c:pt idx="170">
                  <c:v>33</c:v>
                </c:pt>
                <c:pt idx="171">
                  <c:v>37</c:v>
                </c:pt>
                <c:pt idx="172">
                  <c:v>40</c:v>
                </c:pt>
                <c:pt idx="173">
                  <c:v>43</c:v>
                </c:pt>
                <c:pt idx="174">
                  <c:v>47</c:v>
                </c:pt>
                <c:pt idx="175">
                  <c:v>51</c:v>
                </c:pt>
                <c:pt idx="176">
                  <c:v>56</c:v>
                </c:pt>
                <c:pt idx="177">
                  <c:v>61</c:v>
                </c:pt>
                <c:pt idx="178">
                  <c:v>67</c:v>
                </c:pt>
                <c:pt idx="179">
                  <c:v>73</c:v>
                </c:pt>
                <c:pt idx="180">
                  <c:v>79</c:v>
                </c:pt>
                <c:pt idx="181">
                  <c:v>87</c:v>
                </c:pt>
                <c:pt idx="182">
                  <c:v>95</c:v>
                </c:pt>
                <c:pt idx="183">
                  <c:v>1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E4D-492F-9EB6-DD67D53037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H$122:$H$274</c:f>
              <c:numCache>
                <c:formatCode>0</c:formatCode>
                <c:ptCount val="15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EC-4377-A703-66357AD7E0B3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I$122:$I$274</c:f>
              <c:numCache>
                <c:formatCode>0</c:formatCode>
                <c:ptCount val="153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7EC-4377-A703-66357AD7E0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B$122:$B$274</c:f>
              <c:numCache>
                <c:formatCode>0</c:formatCode>
                <c:ptCount val="153"/>
                <c:pt idx="0">
                  <c:v>5.4549607754226743</c:v>
                </c:pt>
                <c:pt idx="1">
                  <c:v>5.4549607754226743</c:v>
                </c:pt>
                <c:pt idx="2">
                  <c:v>4.4321556300309233</c:v>
                </c:pt>
                <c:pt idx="3">
                  <c:v>2.7274803877113372</c:v>
                </c:pt>
                <c:pt idx="4">
                  <c:v>3.068415436175254</c:v>
                </c:pt>
                <c:pt idx="5">
                  <c:v>3.7502855331030882</c:v>
                </c:pt>
                <c:pt idx="6">
                  <c:v>5.114025726958757</c:v>
                </c:pt>
                <c:pt idx="7">
                  <c:v>4.4321556300309233</c:v>
                </c:pt>
                <c:pt idx="8">
                  <c:v>4.7730906784948397</c:v>
                </c:pt>
                <c:pt idx="9">
                  <c:v>6.1368308723505081</c:v>
                </c:pt>
                <c:pt idx="10">
                  <c:v>6.1368308723505081</c:v>
                </c:pt>
                <c:pt idx="11">
                  <c:v>5.7958958238865907</c:v>
                </c:pt>
                <c:pt idx="12">
                  <c:v>5.4549607754226743</c:v>
                </c:pt>
                <c:pt idx="13">
                  <c:v>4.091220581567006</c:v>
                </c:pt>
                <c:pt idx="14">
                  <c:v>5.4549607754226743</c:v>
                </c:pt>
                <c:pt idx="15">
                  <c:v>4.091220581567006</c:v>
                </c:pt>
                <c:pt idx="16">
                  <c:v>2.7274803877113372</c:v>
                </c:pt>
                <c:pt idx="17">
                  <c:v>2.3865453392474199</c:v>
                </c:pt>
                <c:pt idx="18">
                  <c:v>2.3865453392474199</c:v>
                </c:pt>
                <c:pt idx="19">
                  <c:v>2.045610290783503</c:v>
                </c:pt>
                <c:pt idx="20">
                  <c:v>2.045610290783503</c:v>
                </c:pt>
                <c:pt idx="21">
                  <c:v>0.68187009692783429</c:v>
                </c:pt>
                <c:pt idx="22">
                  <c:v>1.0228051453917515</c:v>
                </c:pt>
                <c:pt idx="23">
                  <c:v>1.0228051453917515</c:v>
                </c:pt>
                <c:pt idx="24">
                  <c:v>0.68187009692783429</c:v>
                </c:pt>
                <c:pt idx="25">
                  <c:v>1.3637401938556686</c:v>
                </c:pt>
                <c:pt idx="26">
                  <c:v>1.3637401938556686</c:v>
                </c:pt>
                <c:pt idx="27">
                  <c:v>2.045610290783503</c:v>
                </c:pt>
                <c:pt idx="28">
                  <c:v>2.7274803877113372</c:v>
                </c:pt>
                <c:pt idx="29">
                  <c:v>3.068415436175254</c:v>
                </c:pt>
                <c:pt idx="30">
                  <c:v>3.068415436175254</c:v>
                </c:pt>
                <c:pt idx="31">
                  <c:v>3.7502855331030882</c:v>
                </c:pt>
                <c:pt idx="32">
                  <c:v>4.091220581567006</c:v>
                </c:pt>
                <c:pt idx="33">
                  <c:v>4.091220581567006</c:v>
                </c:pt>
                <c:pt idx="34">
                  <c:v>3.4093504846391713</c:v>
                </c:pt>
                <c:pt idx="35">
                  <c:v>3.4093504846391713</c:v>
                </c:pt>
                <c:pt idx="36">
                  <c:v>3.4093504846391713</c:v>
                </c:pt>
                <c:pt idx="37">
                  <c:v>3.7502855331030882</c:v>
                </c:pt>
                <c:pt idx="38">
                  <c:v>3.7502855331030882</c:v>
                </c:pt>
                <c:pt idx="39">
                  <c:v>3.068415436175254</c:v>
                </c:pt>
                <c:pt idx="40">
                  <c:v>3.068415436175254</c:v>
                </c:pt>
                <c:pt idx="41">
                  <c:v>3.7502855331030882</c:v>
                </c:pt>
                <c:pt idx="42">
                  <c:v>3.7502855331030882</c:v>
                </c:pt>
                <c:pt idx="43">
                  <c:v>3.7502855331030882</c:v>
                </c:pt>
                <c:pt idx="44">
                  <c:v>4.091220581567006</c:v>
                </c:pt>
                <c:pt idx="45">
                  <c:v>4.091220581567006</c:v>
                </c:pt>
                <c:pt idx="46">
                  <c:v>6.1368308723505081</c:v>
                </c:pt>
                <c:pt idx="47">
                  <c:v>6.8187009692783427</c:v>
                </c:pt>
                <c:pt idx="48">
                  <c:v>6.4777659208144254</c:v>
                </c:pt>
                <c:pt idx="49">
                  <c:v>7.1596360177422591</c:v>
                </c:pt>
                <c:pt idx="50">
                  <c:v>10.228051453917514</c:v>
                </c:pt>
                <c:pt idx="51">
                  <c:v>10.909921550845349</c:v>
                </c:pt>
                <c:pt idx="52">
                  <c:v>10.568986502381431</c:v>
                </c:pt>
                <c:pt idx="53">
                  <c:v>9.2052463085257639</c:v>
                </c:pt>
                <c:pt idx="54">
                  <c:v>8.8643112600618466</c:v>
                </c:pt>
                <c:pt idx="55">
                  <c:v>9.2052463085257639</c:v>
                </c:pt>
                <c:pt idx="56">
                  <c:v>8.8643112600618466</c:v>
                </c:pt>
                <c:pt idx="57">
                  <c:v>5.114025726958757</c:v>
                </c:pt>
                <c:pt idx="58">
                  <c:v>4.7730906784948397</c:v>
                </c:pt>
                <c:pt idx="59">
                  <c:v>4.7730906784948397</c:v>
                </c:pt>
                <c:pt idx="60">
                  <c:v>4.4321556300309233</c:v>
                </c:pt>
                <c:pt idx="61">
                  <c:v>4.091220581567006</c:v>
                </c:pt>
                <c:pt idx="62">
                  <c:v>3.068415436175254</c:v>
                </c:pt>
                <c:pt idx="63">
                  <c:v>3.068415436175254</c:v>
                </c:pt>
                <c:pt idx="64">
                  <c:v>3.4093504846391713</c:v>
                </c:pt>
                <c:pt idx="65">
                  <c:v>3.4093504846391713</c:v>
                </c:pt>
                <c:pt idx="66">
                  <c:v>3.7502855331030882</c:v>
                </c:pt>
                <c:pt idx="67">
                  <c:v>3.7502855331030882</c:v>
                </c:pt>
                <c:pt idx="68">
                  <c:v>3.7502855331030882</c:v>
                </c:pt>
                <c:pt idx="69">
                  <c:v>4.091220581567006</c:v>
                </c:pt>
                <c:pt idx="70">
                  <c:v>6.4777659208144254</c:v>
                </c:pt>
                <c:pt idx="71">
                  <c:v>9.2052463085257639</c:v>
                </c:pt>
                <c:pt idx="72">
                  <c:v>9.8871164054535967</c:v>
                </c:pt>
                <c:pt idx="73">
                  <c:v>10.909921550845349</c:v>
                </c:pt>
                <c:pt idx="74">
                  <c:v>11.591791647773181</c:v>
                </c:pt>
                <c:pt idx="75">
                  <c:v>11.591791647773181</c:v>
                </c:pt>
                <c:pt idx="76">
                  <c:v>11.591791647773181</c:v>
                </c:pt>
                <c:pt idx="77">
                  <c:v>11.932726696237099</c:v>
                </c:pt>
                <c:pt idx="78">
                  <c:v>10.909921550845349</c:v>
                </c:pt>
                <c:pt idx="79">
                  <c:v>9.8871164054535967</c:v>
                </c:pt>
                <c:pt idx="80">
                  <c:v>10.568986502381431</c:v>
                </c:pt>
                <c:pt idx="81">
                  <c:v>10.909921550845349</c:v>
                </c:pt>
                <c:pt idx="82">
                  <c:v>10.909921550845349</c:v>
                </c:pt>
                <c:pt idx="83">
                  <c:v>12.614596793164933</c:v>
                </c:pt>
                <c:pt idx="84">
                  <c:v>12.273661744701016</c:v>
                </c:pt>
                <c:pt idx="85">
                  <c:v>11.591791647773181</c:v>
                </c:pt>
                <c:pt idx="86">
                  <c:v>11.591791647773181</c:v>
                </c:pt>
                <c:pt idx="87">
                  <c:v>11.591791647773181</c:v>
                </c:pt>
                <c:pt idx="88">
                  <c:v>10.909921550845349</c:v>
                </c:pt>
                <c:pt idx="89">
                  <c:v>11.932726696237099</c:v>
                </c:pt>
                <c:pt idx="90">
                  <c:v>14.660207083948436</c:v>
                </c:pt>
                <c:pt idx="91">
                  <c:v>16.705817374731939</c:v>
                </c:pt>
                <c:pt idx="92">
                  <c:v>20.115167859371113</c:v>
                </c:pt>
                <c:pt idx="93">
                  <c:v>27.274803877113371</c:v>
                </c:pt>
                <c:pt idx="94">
                  <c:v>28.979479119432956</c:v>
                </c:pt>
                <c:pt idx="95">
                  <c:v>32.388829604072129</c:v>
                </c:pt>
                <c:pt idx="96">
                  <c:v>32.388829604072129</c:v>
                </c:pt>
                <c:pt idx="97">
                  <c:v>33.411634749463879</c:v>
                </c:pt>
                <c:pt idx="98">
                  <c:v>38.866595524886556</c:v>
                </c:pt>
                <c:pt idx="99">
                  <c:v>42.275946009525725</c:v>
                </c:pt>
                <c:pt idx="100">
                  <c:v>42.616881057989644</c:v>
                </c:pt>
                <c:pt idx="101">
                  <c:v>45.003426397237064</c:v>
                </c:pt>
                <c:pt idx="102">
                  <c:v>47.730906784948395</c:v>
                </c:pt>
                <c:pt idx="103">
                  <c:v>48.412776881876233</c:v>
                </c:pt>
                <c:pt idx="104">
                  <c:v>47.389971736484483</c:v>
                </c:pt>
                <c:pt idx="105">
                  <c:v>40.230335718742225</c:v>
                </c:pt>
                <c:pt idx="106">
                  <c:v>41.594075912597894</c:v>
                </c:pt>
                <c:pt idx="107">
                  <c:v>39.548465621814387</c:v>
                </c:pt>
                <c:pt idx="108">
                  <c:v>36.139115137175217</c:v>
                </c:pt>
                <c:pt idx="109">
                  <c:v>31.366024458680378</c:v>
                </c:pt>
                <c:pt idx="110">
                  <c:v>31.706959507144294</c:v>
                </c:pt>
                <c:pt idx="111">
                  <c:v>28.979479119432956</c:v>
                </c:pt>
                <c:pt idx="112">
                  <c:v>31.025089410216456</c:v>
                </c:pt>
                <c:pt idx="113">
                  <c:v>26.251998731721621</c:v>
                </c:pt>
                <c:pt idx="114">
                  <c:v>23.183583295546363</c:v>
                </c:pt>
                <c:pt idx="115">
                  <c:v>21.819843101690697</c:v>
                </c:pt>
                <c:pt idx="116">
                  <c:v>23.183583295546363</c:v>
                </c:pt>
                <c:pt idx="117">
                  <c:v>21.137973004762863</c:v>
                </c:pt>
                <c:pt idx="118">
                  <c:v>21.137973004762863</c:v>
                </c:pt>
                <c:pt idx="119">
                  <c:v>19.092362713979359</c:v>
                </c:pt>
                <c:pt idx="120">
                  <c:v>15.683012229340189</c:v>
                </c:pt>
                <c:pt idx="121">
                  <c:v>14.660207083948436</c:v>
                </c:pt>
                <c:pt idx="122">
                  <c:v>13.978336987020604</c:v>
                </c:pt>
                <c:pt idx="123">
                  <c:v>11.250856599309266</c:v>
                </c:pt>
                <c:pt idx="124">
                  <c:v>12.273661744701016</c:v>
                </c:pt>
                <c:pt idx="125">
                  <c:v>12.955531841628851</c:v>
                </c:pt>
                <c:pt idx="126">
                  <c:v>12.614596793164933</c:v>
                </c:pt>
                <c:pt idx="127">
                  <c:v>14.660207083948436</c:v>
                </c:pt>
                <c:pt idx="128">
                  <c:v>16.364882326268024</c:v>
                </c:pt>
                <c:pt idx="129">
                  <c:v>21.137973004762863</c:v>
                </c:pt>
                <c:pt idx="130">
                  <c:v>24.547323489402032</c:v>
                </c:pt>
                <c:pt idx="131">
                  <c:v>23.524518344010282</c:v>
                </c:pt>
                <c:pt idx="132">
                  <c:v>26.251998731721621</c:v>
                </c:pt>
                <c:pt idx="133">
                  <c:v>31.025089410216456</c:v>
                </c:pt>
                <c:pt idx="134">
                  <c:v>30.684154361752544</c:v>
                </c:pt>
                <c:pt idx="135">
                  <c:v>36.139115137175217</c:v>
                </c:pt>
                <c:pt idx="136">
                  <c:v>37.161920282566967</c:v>
                </c:pt>
                <c:pt idx="137">
                  <c:v>40.912205815670056</c:v>
                </c:pt>
                <c:pt idx="138">
                  <c:v>43.298751154917476</c:v>
                </c:pt>
                <c:pt idx="139">
                  <c:v>46.367166591092726</c:v>
                </c:pt>
                <c:pt idx="140">
                  <c:v>50.458387172659734</c:v>
                </c:pt>
                <c:pt idx="141">
                  <c:v>56.25428299654633</c:v>
                </c:pt>
                <c:pt idx="142">
                  <c:v>60.686438626577257</c:v>
                </c:pt>
                <c:pt idx="143">
                  <c:v>64.436724159680338</c:v>
                </c:pt>
                <c:pt idx="144">
                  <c:v>67.164204547391677</c:v>
                </c:pt>
                <c:pt idx="145">
                  <c:v>68.18700969278342</c:v>
                </c:pt>
                <c:pt idx="146">
                  <c:v>70.232619983566934</c:v>
                </c:pt>
                <c:pt idx="147">
                  <c:v>77.3922560013091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7EC-4377-A703-66357AD7E0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C$122:$C$274</c:f>
              <c:numCache>
                <c:formatCode>General</c:formatCode>
                <c:ptCount val="15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7EC-4377-A703-66357AD7E0B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1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D$122:$D$274</c:f>
              <c:numCache>
                <c:formatCode>General</c:formatCode>
                <c:ptCount val="153"/>
                <c:pt idx="122">
                  <c:v>15.001142132412353</c:v>
                </c:pt>
                <c:pt idx="123">
                  <c:v>15.342077180876272</c:v>
                </c:pt>
                <c:pt idx="124">
                  <c:v>15.683012229340189</c:v>
                </c:pt>
                <c:pt idx="125">
                  <c:v>16.364882326268024</c:v>
                </c:pt>
                <c:pt idx="126">
                  <c:v>17.046752423195855</c:v>
                </c:pt>
                <c:pt idx="127">
                  <c:v>17.728622520123693</c:v>
                </c:pt>
                <c:pt idx="128">
                  <c:v>18.410492617051528</c:v>
                </c:pt>
                <c:pt idx="129">
                  <c:v>19.092362713979359</c:v>
                </c:pt>
                <c:pt idx="130">
                  <c:v>19.774232810907193</c:v>
                </c:pt>
                <c:pt idx="131">
                  <c:v>20.797037956298947</c:v>
                </c:pt>
                <c:pt idx="132">
                  <c:v>21.478908053226778</c:v>
                </c:pt>
                <c:pt idx="133">
                  <c:v>22.160778150154613</c:v>
                </c:pt>
                <c:pt idx="134">
                  <c:v>23.183583295546363</c:v>
                </c:pt>
                <c:pt idx="135">
                  <c:v>23.865453392474198</c:v>
                </c:pt>
                <c:pt idx="136">
                  <c:v>24.888258537865951</c:v>
                </c:pt>
                <c:pt idx="137">
                  <c:v>25.911063683257701</c:v>
                </c:pt>
                <c:pt idx="138">
                  <c:v>26.592933780185536</c:v>
                </c:pt>
                <c:pt idx="139">
                  <c:v>27.615738925577286</c:v>
                </c:pt>
                <c:pt idx="140">
                  <c:v>28.638544070969036</c:v>
                </c:pt>
                <c:pt idx="141">
                  <c:v>29.661349216360794</c:v>
                </c:pt>
                <c:pt idx="142">
                  <c:v>30.684154361752544</c:v>
                </c:pt>
                <c:pt idx="143">
                  <c:v>31.706959507144294</c:v>
                </c:pt>
                <c:pt idx="144">
                  <c:v>32.729764652536048</c:v>
                </c:pt>
                <c:pt idx="145">
                  <c:v>34.09350484639171</c:v>
                </c:pt>
                <c:pt idx="146">
                  <c:v>35.457245040247386</c:v>
                </c:pt>
                <c:pt idx="147">
                  <c:v>36.820985234103055</c:v>
                </c:pt>
                <c:pt idx="148">
                  <c:v>38.184725427958718</c:v>
                </c:pt>
                <c:pt idx="149">
                  <c:v>39.548465621814387</c:v>
                </c:pt>
                <c:pt idx="150">
                  <c:v>40.912205815670056</c:v>
                </c:pt>
                <c:pt idx="151">
                  <c:v>42.616881057989644</c:v>
                </c:pt>
                <c:pt idx="152">
                  <c:v>43.9806212518453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7EC-4377-A703-66357AD7E0B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E$122:$E$274</c:f>
              <c:numCache>
                <c:formatCode>General</c:formatCode>
                <c:ptCount val="153"/>
                <c:pt idx="122">
                  <c:v>15.001142132412353</c:v>
                </c:pt>
                <c:pt idx="123">
                  <c:v>15.683012229340189</c:v>
                </c:pt>
                <c:pt idx="124">
                  <c:v>16.364882326268024</c:v>
                </c:pt>
                <c:pt idx="125">
                  <c:v>17.046752423195855</c:v>
                </c:pt>
                <c:pt idx="126">
                  <c:v>18.069557568587609</c:v>
                </c:pt>
                <c:pt idx="127">
                  <c:v>19.092362713979359</c:v>
                </c:pt>
                <c:pt idx="128">
                  <c:v>20.115167859371113</c:v>
                </c:pt>
                <c:pt idx="129">
                  <c:v>21.137973004762863</c:v>
                </c:pt>
                <c:pt idx="130">
                  <c:v>22.160778150154613</c:v>
                </c:pt>
                <c:pt idx="131">
                  <c:v>23.183583295546363</c:v>
                </c:pt>
                <c:pt idx="132">
                  <c:v>24.547323489402032</c:v>
                </c:pt>
                <c:pt idx="133">
                  <c:v>25.911063683257701</c:v>
                </c:pt>
                <c:pt idx="134">
                  <c:v>27.274803877113371</c:v>
                </c:pt>
                <c:pt idx="135">
                  <c:v>28.638544070969036</c:v>
                </c:pt>
                <c:pt idx="136">
                  <c:v>30.343219313288628</c:v>
                </c:pt>
                <c:pt idx="137">
                  <c:v>31.706959507144294</c:v>
                </c:pt>
                <c:pt idx="138">
                  <c:v>33.411634749463879</c:v>
                </c:pt>
                <c:pt idx="139">
                  <c:v>35.116309991783467</c:v>
                </c:pt>
                <c:pt idx="140">
                  <c:v>36.820985234103055</c:v>
                </c:pt>
                <c:pt idx="141">
                  <c:v>38.866595524886556</c:v>
                </c:pt>
                <c:pt idx="142">
                  <c:v>40.912205815670056</c:v>
                </c:pt>
                <c:pt idx="143">
                  <c:v>42.957816106453556</c:v>
                </c:pt>
                <c:pt idx="144">
                  <c:v>45.344361445700976</c:v>
                </c:pt>
                <c:pt idx="145">
                  <c:v>47.730906784948395</c:v>
                </c:pt>
                <c:pt idx="146">
                  <c:v>50.117452124195822</c:v>
                </c:pt>
                <c:pt idx="147">
                  <c:v>52.503997463443241</c:v>
                </c:pt>
                <c:pt idx="148">
                  <c:v>54.890542802690661</c:v>
                </c:pt>
                <c:pt idx="149">
                  <c:v>57.618023190401999</c:v>
                </c:pt>
                <c:pt idx="150">
                  <c:v>60.34550357811333</c:v>
                </c:pt>
                <c:pt idx="151">
                  <c:v>63.413919014288588</c:v>
                </c:pt>
                <c:pt idx="152">
                  <c:v>66.4823344504638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7EC-4377-A703-66357AD7E0B3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F$122:$F$274</c:f>
              <c:numCache>
                <c:formatCode>General</c:formatCode>
                <c:ptCount val="153"/>
                <c:pt idx="122">
                  <c:v>15.001142132412353</c:v>
                </c:pt>
                <c:pt idx="123">
                  <c:v>15.683012229340189</c:v>
                </c:pt>
                <c:pt idx="124">
                  <c:v>16.705817374731939</c:v>
                </c:pt>
                <c:pt idx="125">
                  <c:v>17.728622520123693</c:v>
                </c:pt>
                <c:pt idx="126">
                  <c:v>18.75142766551544</c:v>
                </c:pt>
                <c:pt idx="127">
                  <c:v>20.115167859371113</c:v>
                </c:pt>
                <c:pt idx="128">
                  <c:v>21.478908053226778</c:v>
                </c:pt>
                <c:pt idx="129">
                  <c:v>23.183583295546363</c:v>
                </c:pt>
                <c:pt idx="130">
                  <c:v>24.547323489402032</c:v>
                </c:pt>
                <c:pt idx="131">
                  <c:v>25.911063683257701</c:v>
                </c:pt>
                <c:pt idx="132">
                  <c:v>27.615738925577286</c:v>
                </c:pt>
                <c:pt idx="133">
                  <c:v>29.661349216360794</c:v>
                </c:pt>
                <c:pt idx="134">
                  <c:v>31.706959507144294</c:v>
                </c:pt>
                <c:pt idx="135">
                  <c:v>33.752569797927798</c:v>
                </c:pt>
                <c:pt idx="136">
                  <c:v>35.798180088711298</c:v>
                </c:pt>
                <c:pt idx="137">
                  <c:v>38.184725427958718</c:v>
                </c:pt>
                <c:pt idx="138">
                  <c:v>40.571270767206137</c:v>
                </c:pt>
                <c:pt idx="139">
                  <c:v>43.298751154917476</c:v>
                </c:pt>
                <c:pt idx="140">
                  <c:v>46.026231542628814</c:v>
                </c:pt>
                <c:pt idx="141">
                  <c:v>49.094646978804064</c:v>
                </c:pt>
                <c:pt idx="142">
                  <c:v>52.163062414979322</c:v>
                </c:pt>
                <c:pt idx="143">
                  <c:v>55.572412899618492</c:v>
                </c:pt>
                <c:pt idx="144">
                  <c:v>59.322698432721587</c:v>
                </c:pt>
                <c:pt idx="145">
                  <c:v>63.413919014288588</c:v>
                </c:pt>
                <c:pt idx="146">
                  <c:v>67.505139595855596</c:v>
                </c:pt>
                <c:pt idx="147">
                  <c:v>71.937295225886515</c:v>
                </c:pt>
                <c:pt idx="148">
                  <c:v>76.369450855917435</c:v>
                </c:pt>
                <c:pt idx="149">
                  <c:v>81.483476582876193</c:v>
                </c:pt>
                <c:pt idx="150">
                  <c:v>86.597502309834951</c:v>
                </c:pt>
                <c:pt idx="151">
                  <c:v>92.052463085257628</c:v>
                </c:pt>
                <c:pt idx="152">
                  <c:v>97.848358909144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7EC-4377-A703-66357AD7E0B3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4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G$122:$G$274</c:f>
              <c:numCache>
                <c:formatCode>General</c:formatCode>
                <c:ptCount val="153"/>
                <c:pt idx="122">
                  <c:v>15.001142132412353</c:v>
                </c:pt>
                <c:pt idx="123">
                  <c:v>15.683012229340189</c:v>
                </c:pt>
                <c:pt idx="124">
                  <c:v>16.705817374731939</c:v>
                </c:pt>
                <c:pt idx="125">
                  <c:v>17.728622520123693</c:v>
                </c:pt>
                <c:pt idx="126">
                  <c:v>18.75142766551544</c:v>
                </c:pt>
                <c:pt idx="127">
                  <c:v>20.115167859371113</c:v>
                </c:pt>
                <c:pt idx="128">
                  <c:v>21.478908053226778</c:v>
                </c:pt>
                <c:pt idx="129">
                  <c:v>23.183583295546363</c:v>
                </c:pt>
                <c:pt idx="130">
                  <c:v>24.547323489402032</c:v>
                </c:pt>
                <c:pt idx="131">
                  <c:v>25.911063683257701</c:v>
                </c:pt>
                <c:pt idx="132">
                  <c:v>27.615738925577286</c:v>
                </c:pt>
                <c:pt idx="133">
                  <c:v>30.002284264824706</c:v>
                </c:pt>
                <c:pt idx="134">
                  <c:v>32.729764652536048</c:v>
                </c:pt>
                <c:pt idx="135">
                  <c:v>35.457245040247386</c:v>
                </c:pt>
                <c:pt idx="136">
                  <c:v>38.184725427958718</c:v>
                </c:pt>
                <c:pt idx="137">
                  <c:v>41.594075912597894</c:v>
                </c:pt>
                <c:pt idx="138">
                  <c:v>45.344361445700976</c:v>
                </c:pt>
                <c:pt idx="139">
                  <c:v>49.776517075731903</c:v>
                </c:pt>
                <c:pt idx="140">
                  <c:v>54.208672705762829</c:v>
                </c:pt>
                <c:pt idx="141">
                  <c:v>58.981763384257668</c:v>
                </c:pt>
                <c:pt idx="142">
                  <c:v>64.436724159680338</c:v>
                </c:pt>
                <c:pt idx="143">
                  <c:v>70.573555032030853</c:v>
                </c:pt>
                <c:pt idx="144">
                  <c:v>77.051320952845273</c:v>
                </c:pt>
                <c:pt idx="145">
                  <c:v>84.210956970587532</c:v>
                </c:pt>
                <c:pt idx="146">
                  <c:v>91.711528036793709</c:v>
                </c:pt>
                <c:pt idx="147">
                  <c:v>100.23490424839164</c:v>
                </c:pt>
                <c:pt idx="148">
                  <c:v>109.09921550845348</c:v>
                </c:pt>
                <c:pt idx="149">
                  <c:v>118.98633191390708</c:v>
                </c:pt>
                <c:pt idx="150">
                  <c:v>129.89625346475242</c:v>
                </c:pt>
                <c:pt idx="151">
                  <c:v>141.82898016098954</c:v>
                </c:pt>
                <c:pt idx="152">
                  <c:v>154.784512002618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E7EC-4377-A703-66357AD7E0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B$244:$B$427</c:f>
              <c:numCache>
                <c:formatCode>0</c:formatCode>
                <c:ptCount val="184"/>
                <c:pt idx="0">
                  <c:v>122</c:v>
                </c:pt>
                <c:pt idx="1">
                  <c:v>47</c:v>
                </c:pt>
                <c:pt idx="2">
                  <c:v>232</c:v>
                </c:pt>
                <c:pt idx="3">
                  <c:v>250</c:v>
                </c:pt>
                <c:pt idx="4">
                  <c:v>165</c:v>
                </c:pt>
                <c:pt idx="5">
                  <c:v>153</c:v>
                </c:pt>
                <c:pt idx="6">
                  <c:v>123</c:v>
                </c:pt>
                <c:pt idx="7">
                  <c:v>76</c:v>
                </c:pt>
                <c:pt idx="8">
                  <c:v>20</c:v>
                </c:pt>
                <c:pt idx="9">
                  <c:v>149</c:v>
                </c:pt>
                <c:pt idx="10">
                  <c:v>106</c:v>
                </c:pt>
                <c:pt idx="11">
                  <c:v>120</c:v>
                </c:pt>
                <c:pt idx="12">
                  <c:v>87</c:v>
                </c:pt>
                <c:pt idx="13">
                  <c:v>107</c:v>
                </c:pt>
                <c:pt idx="14">
                  <c:v>43</c:v>
                </c:pt>
                <c:pt idx="15">
                  <c:v>21</c:v>
                </c:pt>
                <c:pt idx="16">
                  <c:v>101</c:v>
                </c:pt>
                <c:pt idx="17">
                  <c:v>80</c:v>
                </c:pt>
                <c:pt idx="18">
                  <c:v>57</c:v>
                </c:pt>
                <c:pt idx="19">
                  <c:v>46</c:v>
                </c:pt>
                <c:pt idx="20">
                  <c:v>41</c:v>
                </c:pt>
                <c:pt idx="21">
                  <c:v>14</c:v>
                </c:pt>
                <c:pt idx="22">
                  <c:v>20</c:v>
                </c:pt>
                <c:pt idx="23">
                  <c:v>66</c:v>
                </c:pt>
                <c:pt idx="24">
                  <c:v>52</c:v>
                </c:pt>
                <c:pt idx="25">
                  <c:v>41</c:v>
                </c:pt>
                <c:pt idx="26">
                  <c:v>36</c:v>
                </c:pt>
                <c:pt idx="27">
                  <c:v>45</c:v>
                </c:pt>
                <c:pt idx="28">
                  <c:v>16</c:v>
                </c:pt>
                <c:pt idx="29">
                  <c:v>2</c:v>
                </c:pt>
                <c:pt idx="30">
                  <c:v>45</c:v>
                </c:pt>
                <c:pt idx="31">
                  <c:v>35</c:v>
                </c:pt>
                <c:pt idx="32">
                  <c:v>19</c:v>
                </c:pt>
                <c:pt idx="33">
                  <c:v>18</c:v>
                </c:pt>
                <c:pt idx="34">
                  <c:v>16</c:v>
                </c:pt>
                <c:pt idx="35">
                  <c:v>21</c:v>
                </c:pt>
                <c:pt idx="36">
                  <c:v>1</c:v>
                </c:pt>
                <c:pt idx="37">
                  <c:v>19</c:v>
                </c:pt>
                <c:pt idx="38">
                  <c:v>24</c:v>
                </c:pt>
                <c:pt idx="39">
                  <c:v>13</c:v>
                </c:pt>
                <c:pt idx="40">
                  <c:v>14</c:v>
                </c:pt>
                <c:pt idx="41">
                  <c:v>8</c:v>
                </c:pt>
                <c:pt idx="42">
                  <c:v>0</c:v>
                </c:pt>
                <c:pt idx="43">
                  <c:v>1</c:v>
                </c:pt>
                <c:pt idx="44">
                  <c:v>12</c:v>
                </c:pt>
                <c:pt idx="45">
                  <c:v>8</c:v>
                </c:pt>
                <c:pt idx="46">
                  <c:v>7</c:v>
                </c:pt>
                <c:pt idx="47">
                  <c:v>5</c:v>
                </c:pt>
                <c:pt idx="48">
                  <c:v>8</c:v>
                </c:pt>
                <c:pt idx="49">
                  <c:v>3</c:v>
                </c:pt>
                <c:pt idx="50">
                  <c:v>0</c:v>
                </c:pt>
                <c:pt idx="51">
                  <c:v>0</c:v>
                </c:pt>
                <c:pt idx="52">
                  <c:v>9</c:v>
                </c:pt>
                <c:pt idx="53">
                  <c:v>2</c:v>
                </c:pt>
                <c:pt idx="54">
                  <c:v>3</c:v>
                </c:pt>
                <c:pt idx="55">
                  <c:v>7</c:v>
                </c:pt>
                <c:pt idx="56">
                  <c:v>2</c:v>
                </c:pt>
                <c:pt idx="57">
                  <c:v>0</c:v>
                </c:pt>
                <c:pt idx="58">
                  <c:v>3</c:v>
                </c:pt>
                <c:pt idx="59">
                  <c:v>1</c:v>
                </c:pt>
                <c:pt idx="60">
                  <c:v>2</c:v>
                </c:pt>
                <c:pt idx="61">
                  <c:v>3</c:v>
                </c:pt>
                <c:pt idx="62">
                  <c:v>9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3</c:v>
                </c:pt>
                <c:pt idx="67">
                  <c:v>9</c:v>
                </c:pt>
                <c:pt idx="68">
                  <c:v>11</c:v>
                </c:pt>
                <c:pt idx="69">
                  <c:v>10</c:v>
                </c:pt>
                <c:pt idx="70">
                  <c:v>2</c:v>
                </c:pt>
                <c:pt idx="71">
                  <c:v>1</c:v>
                </c:pt>
                <c:pt idx="72">
                  <c:v>8</c:v>
                </c:pt>
                <c:pt idx="73">
                  <c:v>19</c:v>
                </c:pt>
                <c:pt idx="74">
                  <c:v>11</c:v>
                </c:pt>
                <c:pt idx="75">
                  <c:v>3</c:v>
                </c:pt>
                <c:pt idx="76">
                  <c:v>9</c:v>
                </c:pt>
                <c:pt idx="77">
                  <c:v>2</c:v>
                </c:pt>
                <c:pt idx="78">
                  <c:v>9</c:v>
                </c:pt>
                <c:pt idx="79">
                  <c:v>4</c:v>
                </c:pt>
                <c:pt idx="80">
                  <c:v>11</c:v>
                </c:pt>
                <c:pt idx="81">
                  <c:v>8</c:v>
                </c:pt>
                <c:pt idx="82">
                  <c:v>8</c:v>
                </c:pt>
                <c:pt idx="83">
                  <c:v>9</c:v>
                </c:pt>
                <c:pt idx="84">
                  <c:v>5</c:v>
                </c:pt>
                <c:pt idx="85">
                  <c:v>1</c:v>
                </c:pt>
                <c:pt idx="86">
                  <c:v>15</c:v>
                </c:pt>
                <c:pt idx="87">
                  <c:v>11</c:v>
                </c:pt>
                <c:pt idx="88">
                  <c:v>11</c:v>
                </c:pt>
                <c:pt idx="89">
                  <c:v>6</c:v>
                </c:pt>
                <c:pt idx="90">
                  <c:v>8</c:v>
                </c:pt>
                <c:pt idx="91">
                  <c:v>3</c:v>
                </c:pt>
                <c:pt idx="92">
                  <c:v>1</c:v>
                </c:pt>
                <c:pt idx="93">
                  <c:v>5</c:v>
                </c:pt>
                <c:pt idx="94">
                  <c:v>8</c:v>
                </c:pt>
                <c:pt idx="95">
                  <c:v>9</c:v>
                </c:pt>
                <c:pt idx="96">
                  <c:v>2</c:v>
                </c:pt>
                <c:pt idx="97">
                  <c:v>6</c:v>
                </c:pt>
                <c:pt idx="98">
                  <c:v>6</c:v>
                </c:pt>
                <c:pt idx="99">
                  <c:v>7</c:v>
                </c:pt>
                <c:pt idx="100">
                  <c:v>10</c:v>
                </c:pt>
                <c:pt idx="101">
                  <c:v>12</c:v>
                </c:pt>
                <c:pt idx="102">
                  <c:v>4</c:v>
                </c:pt>
                <c:pt idx="103">
                  <c:v>6</c:v>
                </c:pt>
                <c:pt idx="104">
                  <c:v>12</c:v>
                </c:pt>
                <c:pt idx="105">
                  <c:v>10</c:v>
                </c:pt>
                <c:pt idx="106">
                  <c:v>1</c:v>
                </c:pt>
                <c:pt idx="107">
                  <c:v>7</c:v>
                </c:pt>
                <c:pt idx="108">
                  <c:v>16</c:v>
                </c:pt>
                <c:pt idx="109">
                  <c:v>6</c:v>
                </c:pt>
                <c:pt idx="110">
                  <c:v>7</c:v>
                </c:pt>
                <c:pt idx="111">
                  <c:v>7</c:v>
                </c:pt>
                <c:pt idx="112">
                  <c:v>12</c:v>
                </c:pt>
                <c:pt idx="113">
                  <c:v>9</c:v>
                </c:pt>
                <c:pt idx="114">
                  <c:v>9</c:v>
                </c:pt>
                <c:pt idx="115">
                  <c:v>4</c:v>
                </c:pt>
                <c:pt idx="116">
                  <c:v>15</c:v>
                </c:pt>
                <c:pt idx="117">
                  <c:v>5</c:v>
                </c:pt>
                <c:pt idx="118">
                  <c:v>12</c:v>
                </c:pt>
                <c:pt idx="119">
                  <c:v>6</c:v>
                </c:pt>
                <c:pt idx="120">
                  <c:v>4</c:v>
                </c:pt>
                <c:pt idx="121">
                  <c:v>20</c:v>
                </c:pt>
                <c:pt idx="122">
                  <c:v>13</c:v>
                </c:pt>
                <c:pt idx="123">
                  <c:v>19</c:v>
                </c:pt>
                <c:pt idx="124">
                  <c:v>13</c:v>
                </c:pt>
                <c:pt idx="125">
                  <c:v>18</c:v>
                </c:pt>
                <c:pt idx="126">
                  <c:v>23</c:v>
                </c:pt>
                <c:pt idx="127">
                  <c:v>7</c:v>
                </c:pt>
                <c:pt idx="128">
                  <c:v>35</c:v>
                </c:pt>
                <c:pt idx="129">
                  <c:v>28</c:v>
                </c:pt>
                <c:pt idx="130">
                  <c:v>20</c:v>
                </c:pt>
                <c:pt idx="131">
                  <c:v>21</c:v>
                </c:pt>
                <c:pt idx="132">
                  <c:v>23</c:v>
                </c:pt>
                <c:pt idx="133">
                  <c:v>8</c:v>
                </c:pt>
                <c:pt idx="134">
                  <c:v>9</c:v>
                </c:pt>
                <c:pt idx="135">
                  <c:v>19</c:v>
                </c:pt>
                <c:pt idx="136">
                  <c:v>27</c:v>
                </c:pt>
                <c:pt idx="137">
                  <c:v>29</c:v>
                </c:pt>
                <c:pt idx="138">
                  <c:v>27</c:v>
                </c:pt>
                <c:pt idx="139">
                  <c:v>26</c:v>
                </c:pt>
                <c:pt idx="140">
                  <c:v>16</c:v>
                </c:pt>
                <c:pt idx="141">
                  <c:v>14</c:v>
                </c:pt>
                <c:pt idx="142">
                  <c:v>24</c:v>
                </c:pt>
                <c:pt idx="143">
                  <c:v>28</c:v>
                </c:pt>
                <c:pt idx="144">
                  <c:v>17</c:v>
                </c:pt>
                <c:pt idx="145">
                  <c:v>22</c:v>
                </c:pt>
                <c:pt idx="146">
                  <c:v>25</c:v>
                </c:pt>
                <c:pt idx="147">
                  <c:v>23</c:v>
                </c:pt>
                <c:pt idx="148">
                  <c:v>10</c:v>
                </c:pt>
                <c:pt idx="149">
                  <c:v>37</c:v>
                </c:pt>
                <c:pt idx="150">
                  <c:v>37</c:v>
                </c:pt>
                <c:pt idx="151">
                  <c:v>49</c:v>
                </c:pt>
                <c:pt idx="152">
                  <c:v>58</c:v>
                </c:pt>
                <c:pt idx="153">
                  <c:v>43</c:v>
                </c:pt>
                <c:pt idx="154">
                  <c:v>36</c:v>
                </c:pt>
                <c:pt idx="155">
                  <c:v>16</c:v>
                </c:pt>
                <c:pt idx="156">
                  <c:v>41</c:v>
                </c:pt>
                <c:pt idx="157">
                  <c:v>43</c:v>
                </c:pt>
                <c:pt idx="158">
                  <c:v>51</c:v>
                </c:pt>
                <c:pt idx="159">
                  <c:v>37</c:v>
                </c:pt>
                <c:pt idx="160">
                  <c:v>40</c:v>
                </c:pt>
                <c:pt idx="161">
                  <c:v>29</c:v>
                </c:pt>
                <c:pt idx="162">
                  <c:v>25</c:v>
                </c:pt>
                <c:pt idx="163">
                  <c:v>70</c:v>
                </c:pt>
                <c:pt idx="164">
                  <c:v>58</c:v>
                </c:pt>
                <c:pt idx="165">
                  <c:v>52</c:v>
                </c:pt>
                <c:pt idx="166">
                  <c:v>64</c:v>
                </c:pt>
                <c:pt idx="167">
                  <c:v>64</c:v>
                </c:pt>
                <c:pt idx="168">
                  <c:v>43</c:v>
                </c:pt>
                <c:pt idx="169">
                  <c:v>25</c:v>
                </c:pt>
                <c:pt idx="170">
                  <c:v>95</c:v>
                </c:pt>
                <c:pt idx="171">
                  <c:v>129</c:v>
                </c:pt>
                <c:pt idx="172">
                  <c:v>119</c:v>
                </c:pt>
                <c:pt idx="173">
                  <c:v>114</c:v>
                </c:pt>
                <c:pt idx="174">
                  <c:v>122</c:v>
                </c:pt>
                <c:pt idx="175">
                  <c:v>127</c:v>
                </c:pt>
                <c:pt idx="176">
                  <c:v>73</c:v>
                </c:pt>
                <c:pt idx="177">
                  <c:v>165</c:v>
                </c:pt>
                <c:pt idx="178">
                  <c:v>2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2BA-4C71-B75C-6521C77AE7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C$244:$C$427</c:f>
              <c:numCache>
                <c:formatCode>General</c:formatCode>
                <c:ptCount val="18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2BA-4C71-B75C-6521C77AE78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D$244:$D$427</c:f>
              <c:numCache>
                <c:formatCode>General</c:formatCode>
                <c:ptCount val="184"/>
                <c:pt idx="73">
                  <c:v>0</c:v>
                </c:pt>
                <c:pt idx="153">
                  <c:v>48</c:v>
                </c:pt>
                <c:pt idx="154">
                  <c:v>50</c:v>
                </c:pt>
                <c:pt idx="155">
                  <c:v>52</c:v>
                </c:pt>
                <c:pt idx="156">
                  <c:v>54</c:v>
                </c:pt>
                <c:pt idx="157">
                  <c:v>56</c:v>
                </c:pt>
                <c:pt idx="158">
                  <c:v>58</c:v>
                </c:pt>
                <c:pt idx="159">
                  <c:v>60</c:v>
                </c:pt>
                <c:pt idx="160">
                  <c:v>62</c:v>
                </c:pt>
                <c:pt idx="161">
                  <c:v>65</c:v>
                </c:pt>
                <c:pt idx="162">
                  <c:v>67</c:v>
                </c:pt>
                <c:pt idx="163">
                  <c:v>70</c:v>
                </c:pt>
                <c:pt idx="164">
                  <c:v>72</c:v>
                </c:pt>
                <c:pt idx="165">
                  <c:v>75</c:v>
                </c:pt>
                <c:pt idx="166">
                  <c:v>78</c:v>
                </c:pt>
                <c:pt idx="167">
                  <c:v>80</c:v>
                </c:pt>
                <c:pt idx="168">
                  <c:v>83</c:v>
                </c:pt>
                <c:pt idx="169">
                  <c:v>86</c:v>
                </c:pt>
                <c:pt idx="170">
                  <c:v>90</c:v>
                </c:pt>
                <c:pt idx="171">
                  <c:v>93</c:v>
                </c:pt>
                <c:pt idx="172">
                  <c:v>96</c:v>
                </c:pt>
                <c:pt idx="173">
                  <c:v>100</c:v>
                </c:pt>
                <c:pt idx="174">
                  <c:v>103</c:v>
                </c:pt>
                <c:pt idx="175">
                  <c:v>107</c:v>
                </c:pt>
                <c:pt idx="176">
                  <c:v>111</c:v>
                </c:pt>
                <c:pt idx="177">
                  <c:v>115</c:v>
                </c:pt>
                <c:pt idx="178">
                  <c:v>119</c:v>
                </c:pt>
                <c:pt idx="179">
                  <c:v>123</c:v>
                </c:pt>
                <c:pt idx="180">
                  <c:v>127</c:v>
                </c:pt>
                <c:pt idx="181">
                  <c:v>132</c:v>
                </c:pt>
                <c:pt idx="182">
                  <c:v>137</c:v>
                </c:pt>
                <c:pt idx="183">
                  <c:v>1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2BA-4C71-B75C-6521C77AE78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E$244:$E$427</c:f>
              <c:numCache>
                <c:formatCode>General</c:formatCode>
                <c:ptCount val="184"/>
                <c:pt idx="153">
                  <c:v>50</c:v>
                </c:pt>
                <c:pt idx="154">
                  <c:v>53</c:v>
                </c:pt>
                <c:pt idx="155">
                  <c:v>55</c:v>
                </c:pt>
                <c:pt idx="156">
                  <c:v>58</c:v>
                </c:pt>
                <c:pt idx="157">
                  <c:v>61</c:v>
                </c:pt>
                <c:pt idx="158">
                  <c:v>64</c:v>
                </c:pt>
                <c:pt idx="159">
                  <c:v>68</c:v>
                </c:pt>
                <c:pt idx="160">
                  <c:v>71</c:v>
                </c:pt>
                <c:pt idx="161">
                  <c:v>75</c:v>
                </c:pt>
                <c:pt idx="162">
                  <c:v>79</c:v>
                </c:pt>
                <c:pt idx="163">
                  <c:v>83</c:v>
                </c:pt>
                <c:pt idx="164">
                  <c:v>87</c:v>
                </c:pt>
                <c:pt idx="165">
                  <c:v>92</c:v>
                </c:pt>
                <c:pt idx="166">
                  <c:v>96</c:v>
                </c:pt>
                <c:pt idx="167">
                  <c:v>101</c:v>
                </c:pt>
                <c:pt idx="168">
                  <c:v>106</c:v>
                </c:pt>
                <c:pt idx="169">
                  <c:v>112</c:v>
                </c:pt>
                <c:pt idx="170">
                  <c:v>117</c:v>
                </c:pt>
                <c:pt idx="171">
                  <c:v>124</c:v>
                </c:pt>
                <c:pt idx="172">
                  <c:v>130</c:v>
                </c:pt>
                <c:pt idx="173">
                  <c:v>136</c:v>
                </c:pt>
                <c:pt idx="174">
                  <c:v>143</c:v>
                </c:pt>
                <c:pt idx="175">
                  <c:v>150</c:v>
                </c:pt>
                <c:pt idx="176">
                  <c:v>158</c:v>
                </c:pt>
                <c:pt idx="177">
                  <c:v>166</c:v>
                </c:pt>
                <c:pt idx="178">
                  <c:v>175</c:v>
                </c:pt>
                <c:pt idx="179">
                  <c:v>183</c:v>
                </c:pt>
                <c:pt idx="180">
                  <c:v>193</c:v>
                </c:pt>
                <c:pt idx="181">
                  <c:v>202</c:v>
                </c:pt>
                <c:pt idx="182">
                  <c:v>212</c:v>
                </c:pt>
                <c:pt idx="183">
                  <c:v>2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2BA-4C71-B75C-6521C77AE78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F$244:$F$427</c:f>
              <c:numCache>
                <c:formatCode>General</c:formatCode>
                <c:ptCount val="184"/>
                <c:pt idx="153">
                  <c:v>52</c:v>
                </c:pt>
                <c:pt idx="154">
                  <c:v>56</c:v>
                </c:pt>
                <c:pt idx="155">
                  <c:v>59</c:v>
                </c:pt>
                <c:pt idx="156">
                  <c:v>62</c:v>
                </c:pt>
                <c:pt idx="157">
                  <c:v>66</c:v>
                </c:pt>
                <c:pt idx="158">
                  <c:v>70</c:v>
                </c:pt>
                <c:pt idx="159">
                  <c:v>75</c:v>
                </c:pt>
                <c:pt idx="160">
                  <c:v>81</c:v>
                </c:pt>
                <c:pt idx="161">
                  <c:v>86</c:v>
                </c:pt>
                <c:pt idx="162">
                  <c:v>91</c:v>
                </c:pt>
                <c:pt idx="163">
                  <c:v>97</c:v>
                </c:pt>
                <c:pt idx="164">
                  <c:v>104</c:v>
                </c:pt>
                <c:pt idx="165">
                  <c:v>111</c:v>
                </c:pt>
                <c:pt idx="166">
                  <c:v>118</c:v>
                </c:pt>
                <c:pt idx="167">
                  <c:v>125</c:v>
                </c:pt>
                <c:pt idx="168">
                  <c:v>133</c:v>
                </c:pt>
                <c:pt idx="169">
                  <c:v>142</c:v>
                </c:pt>
                <c:pt idx="170">
                  <c:v>151</c:v>
                </c:pt>
                <c:pt idx="171">
                  <c:v>161</c:v>
                </c:pt>
                <c:pt idx="172">
                  <c:v>172</c:v>
                </c:pt>
                <c:pt idx="173">
                  <c:v>183</c:v>
                </c:pt>
                <c:pt idx="174">
                  <c:v>195</c:v>
                </c:pt>
                <c:pt idx="175">
                  <c:v>207</c:v>
                </c:pt>
                <c:pt idx="176">
                  <c:v>221</c:v>
                </c:pt>
                <c:pt idx="177">
                  <c:v>235</c:v>
                </c:pt>
                <c:pt idx="178">
                  <c:v>250</c:v>
                </c:pt>
                <c:pt idx="179">
                  <c:v>266</c:v>
                </c:pt>
                <c:pt idx="180">
                  <c:v>283</c:v>
                </c:pt>
                <c:pt idx="181">
                  <c:v>301</c:v>
                </c:pt>
                <c:pt idx="182">
                  <c:v>321</c:v>
                </c:pt>
                <c:pt idx="183">
                  <c:v>3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2BA-4C71-B75C-6521C77AE789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4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G$244:$G$427</c:f>
              <c:numCache>
                <c:formatCode>General</c:formatCode>
                <c:ptCount val="184"/>
                <c:pt idx="153">
                  <c:v>52</c:v>
                </c:pt>
                <c:pt idx="154">
                  <c:v>56</c:v>
                </c:pt>
                <c:pt idx="155">
                  <c:v>59</c:v>
                </c:pt>
                <c:pt idx="156">
                  <c:v>62</c:v>
                </c:pt>
                <c:pt idx="157">
                  <c:v>66</c:v>
                </c:pt>
                <c:pt idx="158">
                  <c:v>70</c:v>
                </c:pt>
                <c:pt idx="159">
                  <c:v>75</c:v>
                </c:pt>
                <c:pt idx="160">
                  <c:v>81</c:v>
                </c:pt>
                <c:pt idx="161">
                  <c:v>86</c:v>
                </c:pt>
                <c:pt idx="162">
                  <c:v>91</c:v>
                </c:pt>
                <c:pt idx="163">
                  <c:v>97</c:v>
                </c:pt>
                <c:pt idx="164">
                  <c:v>110</c:v>
                </c:pt>
                <c:pt idx="165">
                  <c:v>122</c:v>
                </c:pt>
                <c:pt idx="166">
                  <c:v>132</c:v>
                </c:pt>
                <c:pt idx="167">
                  <c:v>142</c:v>
                </c:pt>
                <c:pt idx="168">
                  <c:v>154</c:v>
                </c:pt>
                <c:pt idx="169">
                  <c:v>169</c:v>
                </c:pt>
                <c:pt idx="170">
                  <c:v>185</c:v>
                </c:pt>
                <c:pt idx="171">
                  <c:v>204</c:v>
                </c:pt>
                <c:pt idx="172">
                  <c:v>221</c:v>
                </c:pt>
                <c:pt idx="173">
                  <c:v>240</c:v>
                </c:pt>
                <c:pt idx="174">
                  <c:v>261</c:v>
                </c:pt>
                <c:pt idx="175">
                  <c:v>286</c:v>
                </c:pt>
                <c:pt idx="176">
                  <c:v>313</c:v>
                </c:pt>
                <c:pt idx="177">
                  <c:v>341</c:v>
                </c:pt>
                <c:pt idx="178">
                  <c:v>372</c:v>
                </c:pt>
                <c:pt idx="179">
                  <c:v>405</c:v>
                </c:pt>
                <c:pt idx="180">
                  <c:v>441</c:v>
                </c:pt>
                <c:pt idx="181">
                  <c:v>482</c:v>
                </c:pt>
                <c:pt idx="182">
                  <c:v>526</c:v>
                </c:pt>
                <c:pt idx="183">
                  <c:v>5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2BA-4C71-B75C-6521C77AE7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H$122:$H$274</c:f>
              <c:numCache>
                <c:formatCode>0</c:formatCode>
                <c:ptCount val="15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1E-47F1-A483-499E1EA87FD5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I$122:$I$274</c:f>
              <c:numCache>
                <c:formatCode>0</c:formatCode>
                <c:ptCount val="153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B1E-47F1-A483-499E1EA87F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B$122:$B$274</c:f>
              <c:numCache>
                <c:formatCode>0</c:formatCode>
                <c:ptCount val="153"/>
                <c:pt idx="0">
                  <c:v>26.927652740990251</c:v>
                </c:pt>
                <c:pt idx="1">
                  <c:v>24.234887466891227</c:v>
                </c:pt>
                <c:pt idx="2">
                  <c:v>22.031715878992024</c:v>
                </c:pt>
                <c:pt idx="3">
                  <c:v>18.48216165404331</c:v>
                </c:pt>
                <c:pt idx="4">
                  <c:v>19.094153761793088</c:v>
                </c:pt>
                <c:pt idx="5">
                  <c:v>18.971755340243131</c:v>
                </c:pt>
                <c:pt idx="6">
                  <c:v>15.789396379944282</c:v>
                </c:pt>
                <c:pt idx="7">
                  <c:v>14.443013742894772</c:v>
                </c:pt>
                <c:pt idx="8">
                  <c:v>13.708623213595038</c:v>
                </c:pt>
                <c:pt idx="9">
                  <c:v>13.219029527395215</c:v>
                </c:pt>
                <c:pt idx="10">
                  <c:v>12.239842154995568</c:v>
                </c:pt>
                <c:pt idx="11">
                  <c:v>9.6694753024465001</c:v>
                </c:pt>
                <c:pt idx="12">
                  <c:v>9.6694753024465001</c:v>
                </c:pt>
                <c:pt idx="13">
                  <c:v>8.8126863515968097</c:v>
                </c:pt>
                <c:pt idx="14">
                  <c:v>6.8543116067975189</c:v>
                </c:pt>
                <c:pt idx="15">
                  <c:v>6.1199210774977839</c:v>
                </c:pt>
                <c:pt idx="16">
                  <c:v>5.0183352835481836</c:v>
                </c:pt>
                <c:pt idx="17">
                  <c:v>5.0183352835481836</c:v>
                </c:pt>
                <c:pt idx="18">
                  <c:v>5.3855305481980507</c:v>
                </c:pt>
                <c:pt idx="19">
                  <c:v>5.2631321266480944</c:v>
                </c:pt>
                <c:pt idx="20">
                  <c:v>3.7943510680486265</c:v>
                </c:pt>
                <c:pt idx="21">
                  <c:v>3.9167494895985819</c:v>
                </c:pt>
                <c:pt idx="22">
                  <c:v>3.3047573818488036</c:v>
                </c:pt>
                <c:pt idx="23">
                  <c:v>3.059960538748892</c:v>
                </c:pt>
                <c:pt idx="24">
                  <c:v>2.9375621171989366</c:v>
                </c:pt>
                <c:pt idx="25">
                  <c:v>2.8151636956489807</c:v>
                </c:pt>
                <c:pt idx="26">
                  <c:v>2.8151636956489807</c:v>
                </c:pt>
                <c:pt idx="27">
                  <c:v>3.1823589602988478</c:v>
                </c:pt>
                <c:pt idx="28">
                  <c:v>2.2031715878992024</c:v>
                </c:pt>
                <c:pt idx="29">
                  <c:v>2.2031715878992024</c:v>
                </c:pt>
                <c:pt idx="30">
                  <c:v>2.2031715878992024</c:v>
                </c:pt>
                <c:pt idx="31">
                  <c:v>2.4479684309991141</c:v>
                </c:pt>
                <c:pt idx="32">
                  <c:v>2.4479684309991141</c:v>
                </c:pt>
                <c:pt idx="33">
                  <c:v>2.6927652740990253</c:v>
                </c:pt>
                <c:pt idx="34">
                  <c:v>2.5703668525490695</c:v>
                </c:pt>
                <c:pt idx="35">
                  <c:v>2.8151636956489807</c:v>
                </c:pt>
                <c:pt idx="36">
                  <c:v>3.6719526464986711</c:v>
                </c:pt>
                <c:pt idx="37">
                  <c:v>4.6511400188983165</c:v>
                </c:pt>
                <c:pt idx="38">
                  <c:v>4.7735384404482719</c:v>
                </c:pt>
                <c:pt idx="39">
                  <c:v>4.7735384404482719</c:v>
                </c:pt>
                <c:pt idx="40">
                  <c:v>4.6511400188983165</c:v>
                </c:pt>
                <c:pt idx="41">
                  <c:v>5.3855305481980507</c:v>
                </c:pt>
                <c:pt idx="42">
                  <c:v>7.3439052929973423</c:v>
                </c:pt>
                <c:pt idx="43">
                  <c:v>7.5887021360972531</c:v>
                </c:pt>
                <c:pt idx="44">
                  <c:v>6.6095147636976073</c:v>
                </c:pt>
                <c:pt idx="45">
                  <c:v>6.4871163421476519</c:v>
                </c:pt>
                <c:pt idx="46">
                  <c:v>6.4871163421476519</c:v>
                </c:pt>
                <c:pt idx="47">
                  <c:v>7.4663037145472977</c:v>
                </c:pt>
                <c:pt idx="48">
                  <c:v>6.9767100283474743</c:v>
                </c:pt>
                <c:pt idx="49">
                  <c:v>5.9975226559478294</c:v>
                </c:pt>
                <c:pt idx="50">
                  <c:v>5.6303273912979614</c:v>
                </c:pt>
                <c:pt idx="51">
                  <c:v>6.2423194990477402</c:v>
                </c:pt>
                <c:pt idx="52">
                  <c:v>6.2423194990477402</c:v>
                </c:pt>
                <c:pt idx="53">
                  <c:v>6.6095147636976073</c:v>
                </c:pt>
                <c:pt idx="54">
                  <c:v>5.6303273912979614</c:v>
                </c:pt>
                <c:pt idx="55">
                  <c:v>6.9767100283474743</c:v>
                </c:pt>
                <c:pt idx="56">
                  <c:v>6.9767100283474743</c:v>
                </c:pt>
                <c:pt idx="57">
                  <c:v>7.3439052929973423</c:v>
                </c:pt>
                <c:pt idx="58">
                  <c:v>7.0991084498974306</c:v>
                </c:pt>
                <c:pt idx="59">
                  <c:v>6.9767100283474743</c:v>
                </c:pt>
                <c:pt idx="60">
                  <c:v>6.7319131852475627</c:v>
                </c:pt>
                <c:pt idx="61">
                  <c:v>6.7319131852475627</c:v>
                </c:pt>
                <c:pt idx="62">
                  <c:v>5.5079289697480061</c:v>
                </c:pt>
                <c:pt idx="63">
                  <c:v>5.140733705098139</c:v>
                </c:pt>
                <c:pt idx="64">
                  <c:v>4.8959368619982282</c:v>
                </c:pt>
                <c:pt idx="65">
                  <c:v>4.4063431757984048</c:v>
                </c:pt>
                <c:pt idx="66">
                  <c:v>4.1615463326984932</c:v>
                </c:pt>
                <c:pt idx="67">
                  <c:v>4.5287415973483602</c:v>
                </c:pt>
                <c:pt idx="68">
                  <c:v>5.2631321266480944</c:v>
                </c:pt>
                <c:pt idx="69">
                  <c:v>5.8751242343978731</c:v>
                </c:pt>
                <c:pt idx="70">
                  <c:v>6.3647179205976956</c:v>
                </c:pt>
                <c:pt idx="71">
                  <c:v>5.7527258128479177</c:v>
                </c:pt>
                <c:pt idx="72">
                  <c:v>6.2423194990477402</c:v>
                </c:pt>
                <c:pt idx="73">
                  <c:v>6.9767100283474743</c:v>
                </c:pt>
                <c:pt idx="74">
                  <c:v>7.4663037145472977</c:v>
                </c:pt>
                <c:pt idx="75">
                  <c:v>6.7319131852475627</c:v>
                </c:pt>
                <c:pt idx="76">
                  <c:v>6.3647179205976956</c:v>
                </c:pt>
                <c:pt idx="77">
                  <c:v>6.8543116067975189</c:v>
                </c:pt>
                <c:pt idx="78">
                  <c:v>7.0991084498974306</c:v>
                </c:pt>
                <c:pt idx="79">
                  <c:v>7.221506871447386</c:v>
                </c:pt>
                <c:pt idx="80">
                  <c:v>6.6095147636976073</c:v>
                </c:pt>
                <c:pt idx="81">
                  <c:v>6.8543116067975189</c:v>
                </c:pt>
                <c:pt idx="82">
                  <c:v>7.8334989791971639</c:v>
                </c:pt>
                <c:pt idx="83">
                  <c:v>8.0782958222970755</c:v>
                </c:pt>
                <c:pt idx="84">
                  <c:v>6.6095147636976073</c:v>
                </c:pt>
                <c:pt idx="85">
                  <c:v>7.7111005576472094</c:v>
                </c:pt>
                <c:pt idx="86">
                  <c:v>7.4663037145472977</c:v>
                </c:pt>
                <c:pt idx="87">
                  <c:v>8.0782958222970755</c:v>
                </c:pt>
                <c:pt idx="88">
                  <c:v>7.3439052929973423</c:v>
                </c:pt>
                <c:pt idx="89">
                  <c:v>6.7319131852475627</c:v>
                </c:pt>
                <c:pt idx="90">
                  <c:v>8.0782958222970755</c:v>
                </c:pt>
                <c:pt idx="91">
                  <c:v>9.1798816162466768</c:v>
                </c:pt>
                <c:pt idx="92">
                  <c:v>9.6694753024465001</c:v>
                </c:pt>
                <c:pt idx="93">
                  <c:v>10.648662674846145</c:v>
                </c:pt>
                <c:pt idx="94">
                  <c:v>11.383053204145879</c:v>
                </c:pt>
                <c:pt idx="95">
                  <c:v>13.463826370495125</c:v>
                </c:pt>
                <c:pt idx="96">
                  <c:v>13.831021635144994</c:v>
                </c:pt>
                <c:pt idx="97">
                  <c:v>15.666997958394328</c:v>
                </c:pt>
                <c:pt idx="98">
                  <c:v>17.502974281643663</c:v>
                </c:pt>
                <c:pt idx="99">
                  <c:v>17.625372703193619</c:v>
                </c:pt>
                <c:pt idx="100">
                  <c:v>18.604560075593266</c:v>
                </c:pt>
                <c:pt idx="101">
                  <c:v>19.216552183343044</c:v>
                </c:pt>
                <c:pt idx="102">
                  <c:v>17.380575860093707</c:v>
                </c:pt>
                <c:pt idx="103">
                  <c:v>17.625372703193619</c:v>
                </c:pt>
                <c:pt idx="104">
                  <c:v>15.666997958394328</c:v>
                </c:pt>
                <c:pt idx="105">
                  <c:v>15.544599536844375</c:v>
                </c:pt>
                <c:pt idx="106">
                  <c:v>16.646185330793973</c:v>
                </c:pt>
                <c:pt idx="107">
                  <c:v>17.380575860093707</c:v>
                </c:pt>
                <c:pt idx="108">
                  <c:v>17.747771124743576</c:v>
                </c:pt>
                <c:pt idx="109">
                  <c:v>18.726958497143222</c:v>
                </c:pt>
                <c:pt idx="110">
                  <c:v>19.338950604893</c:v>
                </c:pt>
                <c:pt idx="111">
                  <c:v>19.950942712642778</c:v>
                </c:pt>
                <c:pt idx="112">
                  <c:v>20.073341134192734</c:v>
                </c:pt>
                <c:pt idx="113">
                  <c:v>18.604560075593266</c:v>
                </c:pt>
                <c:pt idx="114">
                  <c:v>17.992567967843488</c:v>
                </c:pt>
                <c:pt idx="115">
                  <c:v>17.870169546293532</c:v>
                </c:pt>
                <c:pt idx="116">
                  <c:v>18.726958497143222</c:v>
                </c:pt>
                <c:pt idx="117">
                  <c:v>18.237364810943397</c:v>
                </c:pt>
                <c:pt idx="118">
                  <c:v>19.828544291092822</c:v>
                </c:pt>
                <c:pt idx="119">
                  <c:v>20.930130085042421</c:v>
                </c:pt>
                <c:pt idx="120">
                  <c:v>24.846879574641008</c:v>
                </c:pt>
                <c:pt idx="121">
                  <c:v>29.253222750439409</c:v>
                </c:pt>
                <c:pt idx="122">
                  <c:v>31.456394338338612</c:v>
                </c:pt>
                <c:pt idx="123">
                  <c:v>33.047573818488033</c:v>
                </c:pt>
                <c:pt idx="124">
                  <c:v>33.78196434778777</c:v>
                </c:pt>
                <c:pt idx="125">
                  <c:v>34.271558033987596</c:v>
                </c:pt>
                <c:pt idx="126">
                  <c:v>35.005948563287326</c:v>
                </c:pt>
                <c:pt idx="127">
                  <c:v>35.250745406387239</c:v>
                </c:pt>
                <c:pt idx="128">
                  <c:v>32.680378553838167</c:v>
                </c:pt>
                <c:pt idx="129">
                  <c:v>32.313183289188302</c:v>
                </c:pt>
                <c:pt idx="130">
                  <c:v>31.456394338338612</c:v>
                </c:pt>
                <c:pt idx="131">
                  <c:v>32.557980132288215</c:v>
                </c:pt>
                <c:pt idx="132">
                  <c:v>36.107534357236929</c:v>
                </c:pt>
                <c:pt idx="133">
                  <c:v>37.943510680486263</c:v>
                </c:pt>
                <c:pt idx="134">
                  <c:v>38.065909102036215</c:v>
                </c:pt>
                <c:pt idx="135">
                  <c:v>41.370666483885024</c:v>
                </c:pt>
                <c:pt idx="136">
                  <c:v>44.308228601083961</c:v>
                </c:pt>
                <c:pt idx="137">
                  <c:v>46.021806502783342</c:v>
                </c:pt>
                <c:pt idx="138">
                  <c:v>46.021806502783342</c:v>
                </c:pt>
                <c:pt idx="139">
                  <c:v>49.081767041532238</c:v>
                </c:pt>
                <c:pt idx="140">
                  <c:v>57.772054971579088</c:v>
                </c:pt>
                <c:pt idx="141">
                  <c:v>65.97274921542612</c:v>
                </c:pt>
                <c:pt idx="142">
                  <c:v>72.092670292923899</c:v>
                </c:pt>
                <c:pt idx="143">
                  <c:v>79.191778742821327</c:v>
                </c:pt>
                <c:pt idx="144">
                  <c:v>89.473246153017612</c:v>
                </c:pt>
                <c:pt idx="145">
                  <c:v>95.348370387415486</c:v>
                </c:pt>
                <c:pt idx="146">
                  <c:v>103.91625989591238</c:v>
                </c:pt>
                <c:pt idx="147">
                  <c:v>115.788906786258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B1E-47F1-A483-499E1EA87F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C$122:$C$274</c:f>
              <c:numCache>
                <c:formatCode>General</c:formatCode>
                <c:ptCount val="15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B1E-47F1-A483-499E1EA87FD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1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D$122:$D$274</c:f>
              <c:numCache>
                <c:formatCode>General</c:formatCode>
                <c:ptCount val="153"/>
                <c:pt idx="122">
                  <c:v>29.498019593539322</c:v>
                </c:pt>
                <c:pt idx="123">
                  <c:v>30.599605387488925</c:v>
                </c:pt>
                <c:pt idx="124">
                  <c:v>31.823589602988477</c:v>
                </c:pt>
                <c:pt idx="125">
                  <c:v>33.047573818488033</c:v>
                </c:pt>
                <c:pt idx="126">
                  <c:v>34.393956455537548</c:v>
                </c:pt>
                <c:pt idx="127">
                  <c:v>35.617940671037111</c:v>
                </c:pt>
                <c:pt idx="128">
                  <c:v>36.96432330808662</c:v>
                </c:pt>
                <c:pt idx="129">
                  <c:v>38.433104366686088</c:v>
                </c:pt>
                <c:pt idx="130">
                  <c:v>39.901885425285556</c:v>
                </c:pt>
                <c:pt idx="131">
                  <c:v>41.370666483885024</c:v>
                </c:pt>
                <c:pt idx="132">
                  <c:v>42.961845964034453</c:v>
                </c:pt>
                <c:pt idx="133">
                  <c:v>44.553025444183874</c:v>
                </c:pt>
                <c:pt idx="134">
                  <c:v>46.266603345883254</c:v>
                </c:pt>
                <c:pt idx="135">
                  <c:v>47.980181247582635</c:v>
                </c:pt>
                <c:pt idx="136">
                  <c:v>49.693759149282016</c:v>
                </c:pt>
                <c:pt idx="137">
                  <c:v>51.529735472531343</c:v>
                </c:pt>
                <c:pt idx="138">
                  <c:v>53.365711795780683</c:v>
                </c:pt>
                <c:pt idx="139">
                  <c:v>55.324086540579977</c:v>
                </c:pt>
                <c:pt idx="140">
                  <c:v>57.282461285379263</c:v>
                </c:pt>
                <c:pt idx="141">
                  <c:v>59.363234451728509</c:v>
                </c:pt>
                <c:pt idx="142">
                  <c:v>61.566406039627708</c:v>
                </c:pt>
                <c:pt idx="143">
                  <c:v>63.891976049076874</c:v>
                </c:pt>
                <c:pt idx="144">
                  <c:v>66.21754605852604</c:v>
                </c:pt>
                <c:pt idx="145">
                  <c:v>68.665514489525137</c:v>
                </c:pt>
                <c:pt idx="146">
                  <c:v>71.113482920524248</c:v>
                </c:pt>
                <c:pt idx="147">
                  <c:v>73.68384977307332</c:v>
                </c:pt>
                <c:pt idx="148">
                  <c:v>76.376615047172351</c:v>
                </c:pt>
                <c:pt idx="149">
                  <c:v>79.069380321271382</c:v>
                </c:pt>
                <c:pt idx="150">
                  <c:v>81.884544016920358</c:v>
                </c:pt>
                <c:pt idx="151">
                  <c:v>84.822106134119295</c:v>
                </c:pt>
                <c:pt idx="152">
                  <c:v>87.7596682513182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B1E-47F1-A483-499E1EA87FD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E$122:$E$274</c:f>
              <c:numCache>
                <c:formatCode>General</c:formatCode>
                <c:ptCount val="153"/>
                <c:pt idx="122">
                  <c:v>29.742816436639231</c:v>
                </c:pt>
                <c:pt idx="123">
                  <c:v>31.08919907368875</c:v>
                </c:pt>
                <c:pt idx="124">
                  <c:v>32.557980132288215</c:v>
                </c:pt>
                <c:pt idx="125">
                  <c:v>34.149159612437643</c:v>
                </c:pt>
                <c:pt idx="126">
                  <c:v>35.985135935686976</c:v>
                </c:pt>
                <c:pt idx="127">
                  <c:v>37.82111225893631</c:v>
                </c:pt>
                <c:pt idx="128">
                  <c:v>39.901885425285556</c:v>
                </c:pt>
                <c:pt idx="129">
                  <c:v>41.982658591634802</c:v>
                </c:pt>
                <c:pt idx="130">
                  <c:v>44.185830179534008</c:v>
                </c:pt>
                <c:pt idx="131">
                  <c:v>46.511400188983167</c:v>
                </c:pt>
                <c:pt idx="132">
                  <c:v>48.959368619982271</c:v>
                </c:pt>
                <c:pt idx="133">
                  <c:v>51.529735472531343</c:v>
                </c:pt>
                <c:pt idx="134">
                  <c:v>54.222500746630374</c:v>
                </c:pt>
                <c:pt idx="135">
                  <c:v>57.03766444227935</c:v>
                </c:pt>
                <c:pt idx="136">
                  <c:v>59.975226559478287</c:v>
                </c:pt>
                <c:pt idx="137">
                  <c:v>63.035187098227176</c:v>
                </c:pt>
                <c:pt idx="138">
                  <c:v>66.339944480075985</c:v>
                </c:pt>
                <c:pt idx="139">
                  <c:v>69.767100283474747</c:v>
                </c:pt>
                <c:pt idx="140">
                  <c:v>73.316654508423468</c:v>
                </c:pt>
                <c:pt idx="141">
                  <c:v>77.111005576472081</c:v>
                </c:pt>
                <c:pt idx="142">
                  <c:v>81.027755066070668</c:v>
                </c:pt>
                <c:pt idx="143">
                  <c:v>85.18930139876916</c:v>
                </c:pt>
                <c:pt idx="144">
                  <c:v>89.595644574567572</c:v>
                </c:pt>
                <c:pt idx="145">
                  <c:v>94.12438617191593</c:v>
                </c:pt>
                <c:pt idx="146">
                  <c:v>98.897924612364193</c:v>
                </c:pt>
                <c:pt idx="147">
                  <c:v>103.91625989591238</c:v>
                </c:pt>
                <c:pt idx="148">
                  <c:v>109.17939202256046</c:v>
                </c:pt>
                <c:pt idx="149">
                  <c:v>114.68732099230849</c:v>
                </c:pt>
                <c:pt idx="150">
                  <c:v>120.44004680515641</c:v>
                </c:pt>
                <c:pt idx="151">
                  <c:v>126.43756946110423</c:v>
                </c:pt>
                <c:pt idx="152">
                  <c:v>132.802287381701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B1E-47F1-A483-499E1EA87FD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F$122:$F$274</c:f>
              <c:numCache>
                <c:formatCode>General</c:formatCode>
                <c:ptCount val="153"/>
                <c:pt idx="122">
                  <c:v>29.865214858189191</c:v>
                </c:pt>
                <c:pt idx="123">
                  <c:v>31.578792759888564</c:v>
                </c:pt>
                <c:pt idx="124">
                  <c:v>33.414769083137905</c:v>
                </c:pt>
                <c:pt idx="125">
                  <c:v>35.373143827937199</c:v>
                </c:pt>
                <c:pt idx="126">
                  <c:v>37.698713837386357</c:v>
                </c:pt>
                <c:pt idx="127">
                  <c:v>40.146682268385469</c:v>
                </c:pt>
                <c:pt idx="128">
                  <c:v>42.961845964034453</c:v>
                </c:pt>
                <c:pt idx="129">
                  <c:v>45.899408081233382</c:v>
                </c:pt>
                <c:pt idx="130">
                  <c:v>48.836970198432319</c:v>
                </c:pt>
                <c:pt idx="131">
                  <c:v>52.019329158731168</c:v>
                </c:pt>
                <c:pt idx="132">
                  <c:v>55.568883383679882</c:v>
                </c:pt>
                <c:pt idx="133">
                  <c:v>59.240836030178556</c:v>
                </c:pt>
                <c:pt idx="134">
                  <c:v>63.279983941327096</c:v>
                </c:pt>
                <c:pt idx="135">
                  <c:v>67.563928695575541</c:v>
                </c:pt>
                <c:pt idx="136">
                  <c:v>71.970271871373953</c:v>
                </c:pt>
                <c:pt idx="137">
                  <c:v>76.621411890272256</c:v>
                </c:pt>
                <c:pt idx="138">
                  <c:v>81.639747173820439</c:v>
                </c:pt>
                <c:pt idx="139">
                  <c:v>86.902879300468541</c:v>
                </c:pt>
                <c:pt idx="140">
                  <c:v>92.533206691766509</c:v>
                </c:pt>
                <c:pt idx="141">
                  <c:v>98.530729347714342</c:v>
                </c:pt>
                <c:pt idx="142">
                  <c:v>104.89544726831203</c:v>
                </c:pt>
                <c:pt idx="143">
                  <c:v>111.62736045355959</c:v>
                </c:pt>
                <c:pt idx="144">
                  <c:v>118.84886732500698</c:v>
                </c:pt>
                <c:pt idx="145">
                  <c:v>126.55996788265419</c:v>
                </c:pt>
                <c:pt idx="146">
                  <c:v>134.76066212650122</c:v>
                </c:pt>
                <c:pt idx="147">
                  <c:v>143.45095005654807</c:v>
                </c:pt>
                <c:pt idx="148">
                  <c:v>152.63083167279476</c:v>
                </c:pt>
                <c:pt idx="149">
                  <c:v>162.4227053967912</c:v>
                </c:pt>
                <c:pt idx="150">
                  <c:v>172.94896965008741</c:v>
                </c:pt>
                <c:pt idx="151">
                  <c:v>184.08722601113337</c:v>
                </c:pt>
                <c:pt idx="152">
                  <c:v>195.959872901479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6B1E-47F1-A483-499E1EA87FD5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4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G$122:$G$274</c:f>
              <c:numCache>
                <c:formatCode>General</c:formatCode>
                <c:ptCount val="153"/>
                <c:pt idx="122">
                  <c:v>29.865214858189191</c:v>
                </c:pt>
                <c:pt idx="123">
                  <c:v>31.578792759888564</c:v>
                </c:pt>
                <c:pt idx="124">
                  <c:v>33.414769083137905</c:v>
                </c:pt>
                <c:pt idx="125">
                  <c:v>35.373143827937199</c:v>
                </c:pt>
                <c:pt idx="126">
                  <c:v>37.698713837386357</c:v>
                </c:pt>
                <c:pt idx="127">
                  <c:v>40.146682268385469</c:v>
                </c:pt>
                <c:pt idx="128">
                  <c:v>42.961845964034453</c:v>
                </c:pt>
                <c:pt idx="129">
                  <c:v>45.899408081233382</c:v>
                </c:pt>
                <c:pt idx="130">
                  <c:v>48.836970198432319</c:v>
                </c:pt>
                <c:pt idx="131">
                  <c:v>52.019329158731168</c:v>
                </c:pt>
                <c:pt idx="132">
                  <c:v>55.568883383679882</c:v>
                </c:pt>
                <c:pt idx="133">
                  <c:v>59.852828137928334</c:v>
                </c:pt>
                <c:pt idx="134">
                  <c:v>64.99356184302647</c:v>
                </c:pt>
                <c:pt idx="135">
                  <c:v>70.623889234324437</c:v>
                </c:pt>
                <c:pt idx="136">
                  <c:v>76.621411890272256</c:v>
                </c:pt>
                <c:pt idx="137">
                  <c:v>83.353325075519834</c:v>
                </c:pt>
                <c:pt idx="138">
                  <c:v>90.942027211617088</c:v>
                </c:pt>
                <c:pt idx="139">
                  <c:v>99.632315141663938</c:v>
                </c:pt>
                <c:pt idx="140">
                  <c:v>108.81219675791061</c:v>
                </c:pt>
                <c:pt idx="141">
                  <c:v>118.48167206035711</c:v>
                </c:pt>
                <c:pt idx="142">
                  <c:v>129.00793631365329</c:v>
                </c:pt>
                <c:pt idx="143">
                  <c:v>140.75818478244906</c:v>
                </c:pt>
                <c:pt idx="144">
                  <c:v>153.61001904519441</c:v>
                </c:pt>
                <c:pt idx="145">
                  <c:v>167.80823594498926</c:v>
                </c:pt>
                <c:pt idx="146">
                  <c:v>183.10803863873372</c:v>
                </c:pt>
                <c:pt idx="147">
                  <c:v>199.63182554797774</c:v>
                </c:pt>
                <c:pt idx="148">
                  <c:v>217.62439351582123</c:v>
                </c:pt>
                <c:pt idx="149">
                  <c:v>237.45293780691404</c:v>
                </c:pt>
                <c:pt idx="150">
                  <c:v>258.99505999970626</c:v>
                </c:pt>
                <c:pt idx="151">
                  <c:v>282.61795535884772</c:v>
                </c:pt>
                <c:pt idx="152">
                  <c:v>308.199225462788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6B1E-47F1-A483-499E1EA87F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4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B$244:$B$427</c:f>
              <c:numCache>
                <c:formatCode>0</c:formatCode>
                <c:ptCount val="184"/>
                <c:pt idx="0">
                  <c:v>4</c:v>
                </c:pt>
                <c:pt idx="1">
                  <c:v>30</c:v>
                </c:pt>
                <c:pt idx="2">
                  <c:v>110</c:v>
                </c:pt>
                <c:pt idx="3">
                  <c:v>80</c:v>
                </c:pt>
                <c:pt idx="4">
                  <c:v>55</c:v>
                </c:pt>
                <c:pt idx="5">
                  <c:v>65</c:v>
                </c:pt>
                <c:pt idx="6">
                  <c:v>55</c:v>
                </c:pt>
                <c:pt idx="7">
                  <c:v>12</c:v>
                </c:pt>
                <c:pt idx="8">
                  <c:v>15</c:v>
                </c:pt>
                <c:pt idx="9">
                  <c:v>69</c:v>
                </c:pt>
                <c:pt idx="10">
                  <c:v>72</c:v>
                </c:pt>
                <c:pt idx="11">
                  <c:v>42</c:v>
                </c:pt>
                <c:pt idx="12">
                  <c:v>33</c:v>
                </c:pt>
                <c:pt idx="13">
                  <c:v>51</c:v>
                </c:pt>
                <c:pt idx="14">
                  <c:v>13</c:v>
                </c:pt>
                <c:pt idx="15">
                  <c:v>12</c:v>
                </c:pt>
                <c:pt idx="16">
                  <c:v>62</c:v>
                </c:pt>
                <c:pt idx="17">
                  <c:v>38</c:v>
                </c:pt>
                <c:pt idx="18">
                  <c:v>39</c:v>
                </c:pt>
                <c:pt idx="19">
                  <c:v>47</c:v>
                </c:pt>
                <c:pt idx="20">
                  <c:v>43</c:v>
                </c:pt>
                <c:pt idx="21">
                  <c:v>16</c:v>
                </c:pt>
                <c:pt idx="22">
                  <c:v>12</c:v>
                </c:pt>
                <c:pt idx="23">
                  <c:v>37</c:v>
                </c:pt>
                <c:pt idx="24">
                  <c:v>35</c:v>
                </c:pt>
                <c:pt idx="25">
                  <c:v>22</c:v>
                </c:pt>
                <c:pt idx="26">
                  <c:v>22</c:v>
                </c:pt>
                <c:pt idx="27">
                  <c:v>22</c:v>
                </c:pt>
                <c:pt idx="28">
                  <c:v>11</c:v>
                </c:pt>
                <c:pt idx="29">
                  <c:v>7</c:v>
                </c:pt>
                <c:pt idx="30">
                  <c:v>37</c:v>
                </c:pt>
                <c:pt idx="31">
                  <c:v>39</c:v>
                </c:pt>
                <c:pt idx="32">
                  <c:v>19</c:v>
                </c:pt>
                <c:pt idx="33">
                  <c:v>21</c:v>
                </c:pt>
                <c:pt idx="34">
                  <c:v>27</c:v>
                </c:pt>
                <c:pt idx="35">
                  <c:v>2</c:v>
                </c:pt>
                <c:pt idx="36">
                  <c:v>15</c:v>
                </c:pt>
                <c:pt idx="37">
                  <c:v>16</c:v>
                </c:pt>
                <c:pt idx="38">
                  <c:v>18</c:v>
                </c:pt>
                <c:pt idx="39">
                  <c:v>21</c:v>
                </c:pt>
                <c:pt idx="40">
                  <c:v>23</c:v>
                </c:pt>
                <c:pt idx="41">
                  <c:v>8</c:v>
                </c:pt>
                <c:pt idx="42">
                  <c:v>0</c:v>
                </c:pt>
                <c:pt idx="43">
                  <c:v>3</c:v>
                </c:pt>
                <c:pt idx="44">
                  <c:v>19</c:v>
                </c:pt>
                <c:pt idx="45">
                  <c:v>17</c:v>
                </c:pt>
                <c:pt idx="46">
                  <c:v>8</c:v>
                </c:pt>
                <c:pt idx="47">
                  <c:v>4</c:v>
                </c:pt>
                <c:pt idx="48">
                  <c:v>6</c:v>
                </c:pt>
                <c:pt idx="49">
                  <c:v>0</c:v>
                </c:pt>
                <c:pt idx="50">
                  <c:v>8</c:v>
                </c:pt>
                <c:pt idx="51">
                  <c:v>10</c:v>
                </c:pt>
                <c:pt idx="52">
                  <c:v>5</c:v>
                </c:pt>
                <c:pt idx="53">
                  <c:v>7</c:v>
                </c:pt>
                <c:pt idx="54">
                  <c:v>3</c:v>
                </c:pt>
                <c:pt idx="55">
                  <c:v>4</c:v>
                </c:pt>
                <c:pt idx="56">
                  <c:v>1</c:v>
                </c:pt>
                <c:pt idx="57">
                  <c:v>6</c:v>
                </c:pt>
                <c:pt idx="58">
                  <c:v>7</c:v>
                </c:pt>
                <c:pt idx="59">
                  <c:v>5</c:v>
                </c:pt>
                <c:pt idx="60">
                  <c:v>5</c:v>
                </c:pt>
                <c:pt idx="61">
                  <c:v>6</c:v>
                </c:pt>
                <c:pt idx="62">
                  <c:v>6</c:v>
                </c:pt>
                <c:pt idx="63">
                  <c:v>1</c:v>
                </c:pt>
                <c:pt idx="64">
                  <c:v>2</c:v>
                </c:pt>
                <c:pt idx="65">
                  <c:v>6</c:v>
                </c:pt>
                <c:pt idx="66">
                  <c:v>5</c:v>
                </c:pt>
                <c:pt idx="67">
                  <c:v>5</c:v>
                </c:pt>
                <c:pt idx="68">
                  <c:v>10</c:v>
                </c:pt>
                <c:pt idx="69">
                  <c:v>6</c:v>
                </c:pt>
                <c:pt idx="70">
                  <c:v>3</c:v>
                </c:pt>
                <c:pt idx="71">
                  <c:v>2</c:v>
                </c:pt>
                <c:pt idx="72">
                  <c:v>6</c:v>
                </c:pt>
                <c:pt idx="73">
                  <c:v>6</c:v>
                </c:pt>
                <c:pt idx="74">
                  <c:v>7</c:v>
                </c:pt>
                <c:pt idx="75">
                  <c:v>8</c:v>
                </c:pt>
                <c:pt idx="76">
                  <c:v>6</c:v>
                </c:pt>
                <c:pt idx="77">
                  <c:v>0</c:v>
                </c:pt>
                <c:pt idx="78">
                  <c:v>4</c:v>
                </c:pt>
                <c:pt idx="79">
                  <c:v>5</c:v>
                </c:pt>
                <c:pt idx="80">
                  <c:v>10</c:v>
                </c:pt>
                <c:pt idx="81">
                  <c:v>8</c:v>
                </c:pt>
                <c:pt idx="82">
                  <c:v>7</c:v>
                </c:pt>
                <c:pt idx="83">
                  <c:v>10</c:v>
                </c:pt>
                <c:pt idx="84">
                  <c:v>1</c:v>
                </c:pt>
                <c:pt idx="85">
                  <c:v>7</c:v>
                </c:pt>
                <c:pt idx="86">
                  <c:v>5</c:v>
                </c:pt>
                <c:pt idx="87">
                  <c:v>17</c:v>
                </c:pt>
                <c:pt idx="88">
                  <c:v>8</c:v>
                </c:pt>
                <c:pt idx="89">
                  <c:v>10</c:v>
                </c:pt>
                <c:pt idx="90">
                  <c:v>2</c:v>
                </c:pt>
                <c:pt idx="91">
                  <c:v>1</c:v>
                </c:pt>
                <c:pt idx="92">
                  <c:v>4</c:v>
                </c:pt>
                <c:pt idx="93">
                  <c:v>6</c:v>
                </c:pt>
                <c:pt idx="94">
                  <c:v>4</c:v>
                </c:pt>
                <c:pt idx="95">
                  <c:v>4</c:v>
                </c:pt>
                <c:pt idx="96">
                  <c:v>10</c:v>
                </c:pt>
                <c:pt idx="97">
                  <c:v>9</c:v>
                </c:pt>
                <c:pt idx="98">
                  <c:v>0</c:v>
                </c:pt>
                <c:pt idx="99">
                  <c:v>4</c:v>
                </c:pt>
                <c:pt idx="100">
                  <c:v>5</c:v>
                </c:pt>
                <c:pt idx="101">
                  <c:v>7</c:v>
                </c:pt>
                <c:pt idx="102">
                  <c:v>3</c:v>
                </c:pt>
                <c:pt idx="103">
                  <c:v>10</c:v>
                </c:pt>
                <c:pt idx="104">
                  <c:v>5</c:v>
                </c:pt>
                <c:pt idx="105">
                  <c:v>6</c:v>
                </c:pt>
                <c:pt idx="106">
                  <c:v>19</c:v>
                </c:pt>
                <c:pt idx="107">
                  <c:v>18</c:v>
                </c:pt>
                <c:pt idx="108">
                  <c:v>24</c:v>
                </c:pt>
                <c:pt idx="109">
                  <c:v>14</c:v>
                </c:pt>
                <c:pt idx="110">
                  <c:v>9</c:v>
                </c:pt>
                <c:pt idx="111">
                  <c:v>7</c:v>
                </c:pt>
                <c:pt idx="112">
                  <c:v>2</c:v>
                </c:pt>
                <c:pt idx="113">
                  <c:v>1</c:v>
                </c:pt>
                <c:pt idx="114">
                  <c:v>14</c:v>
                </c:pt>
                <c:pt idx="115">
                  <c:v>15</c:v>
                </c:pt>
                <c:pt idx="116">
                  <c:v>7</c:v>
                </c:pt>
                <c:pt idx="117">
                  <c:v>10</c:v>
                </c:pt>
                <c:pt idx="118">
                  <c:v>8</c:v>
                </c:pt>
                <c:pt idx="119">
                  <c:v>3</c:v>
                </c:pt>
                <c:pt idx="120">
                  <c:v>7</c:v>
                </c:pt>
                <c:pt idx="121">
                  <c:v>7</c:v>
                </c:pt>
                <c:pt idx="122">
                  <c:v>9</c:v>
                </c:pt>
                <c:pt idx="123">
                  <c:v>11</c:v>
                </c:pt>
                <c:pt idx="124">
                  <c:v>15</c:v>
                </c:pt>
                <c:pt idx="125">
                  <c:v>5</c:v>
                </c:pt>
                <c:pt idx="126">
                  <c:v>3</c:v>
                </c:pt>
                <c:pt idx="127">
                  <c:v>13</c:v>
                </c:pt>
                <c:pt idx="128">
                  <c:v>15</c:v>
                </c:pt>
                <c:pt idx="129">
                  <c:v>11</c:v>
                </c:pt>
                <c:pt idx="130">
                  <c:v>3</c:v>
                </c:pt>
                <c:pt idx="131">
                  <c:v>9</c:v>
                </c:pt>
                <c:pt idx="132">
                  <c:v>9</c:v>
                </c:pt>
                <c:pt idx="133">
                  <c:v>1</c:v>
                </c:pt>
                <c:pt idx="134">
                  <c:v>0</c:v>
                </c:pt>
                <c:pt idx="135">
                  <c:v>9</c:v>
                </c:pt>
                <c:pt idx="136">
                  <c:v>7</c:v>
                </c:pt>
                <c:pt idx="137">
                  <c:v>7</c:v>
                </c:pt>
                <c:pt idx="138">
                  <c:v>10</c:v>
                </c:pt>
                <c:pt idx="139">
                  <c:v>8</c:v>
                </c:pt>
                <c:pt idx="140">
                  <c:v>2</c:v>
                </c:pt>
                <c:pt idx="141">
                  <c:v>8</c:v>
                </c:pt>
                <c:pt idx="142">
                  <c:v>5</c:v>
                </c:pt>
                <c:pt idx="143">
                  <c:v>14</c:v>
                </c:pt>
                <c:pt idx="144">
                  <c:v>5</c:v>
                </c:pt>
                <c:pt idx="145">
                  <c:v>7</c:v>
                </c:pt>
                <c:pt idx="146">
                  <c:v>1</c:v>
                </c:pt>
                <c:pt idx="147">
                  <c:v>3</c:v>
                </c:pt>
                <c:pt idx="148">
                  <c:v>2</c:v>
                </c:pt>
                <c:pt idx="149">
                  <c:v>12</c:v>
                </c:pt>
                <c:pt idx="150">
                  <c:v>2</c:v>
                </c:pt>
                <c:pt idx="151">
                  <c:v>16</c:v>
                </c:pt>
                <c:pt idx="152">
                  <c:v>16</c:v>
                </c:pt>
                <c:pt idx="153">
                  <c:v>20</c:v>
                </c:pt>
                <c:pt idx="154">
                  <c:v>4</c:v>
                </c:pt>
                <c:pt idx="155">
                  <c:v>10</c:v>
                </c:pt>
                <c:pt idx="156">
                  <c:v>20</c:v>
                </c:pt>
                <c:pt idx="157">
                  <c:v>12</c:v>
                </c:pt>
                <c:pt idx="158">
                  <c:v>34</c:v>
                </c:pt>
                <c:pt idx="159">
                  <c:v>17</c:v>
                </c:pt>
                <c:pt idx="160">
                  <c:v>16</c:v>
                </c:pt>
                <c:pt idx="161">
                  <c:v>4</c:v>
                </c:pt>
                <c:pt idx="162">
                  <c:v>9</c:v>
                </c:pt>
                <c:pt idx="163">
                  <c:v>16</c:v>
                </c:pt>
                <c:pt idx="164">
                  <c:v>28</c:v>
                </c:pt>
                <c:pt idx="165">
                  <c:v>12</c:v>
                </c:pt>
                <c:pt idx="166">
                  <c:v>27</c:v>
                </c:pt>
                <c:pt idx="167">
                  <c:v>16</c:v>
                </c:pt>
                <c:pt idx="168">
                  <c:v>5</c:v>
                </c:pt>
                <c:pt idx="169">
                  <c:v>8</c:v>
                </c:pt>
                <c:pt idx="170">
                  <c:v>48</c:v>
                </c:pt>
                <c:pt idx="171">
                  <c:v>54</c:v>
                </c:pt>
                <c:pt idx="172">
                  <c:v>58</c:v>
                </c:pt>
                <c:pt idx="173">
                  <c:v>82</c:v>
                </c:pt>
                <c:pt idx="174">
                  <c:v>84</c:v>
                </c:pt>
                <c:pt idx="175">
                  <c:v>32</c:v>
                </c:pt>
                <c:pt idx="176">
                  <c:v>33</c:v>
                </c:pt>
                <c:pt idx="177">
                  <c:v>98</c:v>
                </c:pt>
                <c:pt idx="178">
                  <c:v>1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BB-4EED-A644-DF008CDA96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C$244:$C$427</c:f>
              <c:numCache>
                <c:formatCode>General</c:formatCode>
                <c:ptCount val="18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BB-4EED-A644-DF008CDA966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D$244:$D$427</c:f>
              <c:numCache>
                <c:formatCode>General</c:formatCode>
                <c:ptCount val="184"/>
                <c:pt idx="73">
                  <c:v>0</c:v>
                </c:pt>
                <c:pt idx="153">
                  <c:v>10</c:v>
                </c:pt>
                <c:pt idx="154">
                  <c:v>11</c:v>
                </c:pt>
                <c:pt idx="155">
                  <c:v>11</c:v>
                </c:pt>
                <c:pt idx="156">
                  <c:v>12</c:v>
                </c:pt>
                <c:pt idx="157">
                  <c:v>12</c:v>
                </c:pt>
                <c:pt idx="158">
                  <c:v>13</c:v>
                </c:pt>
                <c:pt idx="159">
                  <c:v>13</c:v>
                </c:pt>
                <c:pt idx="160">
                  <c:v>14</c:v>
                </c:pt>
                <c:pt idx="161">
                  <c:v>14</c:v>
                </c:pt>
                <c:pt idx="162">
                  <c:v>15</c:v>
                </c:pt>
                <c:pt idx="163">
                  <c:v>15</c:v>
                </c:pt>
                <c:pt idx="164">
                  <c:v>16</c:v>
                </c:pt>
                <c:pt idx="165">
                  <c:v>16</c:v>
                </c:pt>
                <c:pt idx="166">
                  <c:v>17</c:v>
                </c:pt>
                <c:pt idx="167">
                  <c:v>17</c:v>
                </c:pt>
                <c:pt idx="168">
                  <c:v>18</c:v>
                </c:pt>
                <c:pt idx="169">
                  <c:v>19</c:v>
                </c:pt>
                <c:pt idx="170">
                  <c:v>19</c:v>
                </c:pt>
                <c:pt idx="171">
                  <c:v>20</c:v>
                </c:pt>
                <c:pt idx="172">
                  <c:v>21</c:v>
                </c:pt>
                <c:pt idx="173">
                  <c:v>22</c:v>
                </c:pt>
                <c:pt idx="174">
                  <c:v>22</c:v>
                </c:pt>
                <c:pt idx="175">
                  <c:v>23</c:v>
                </c:pt>
                <c:pt idx="176">
                  <c:v>24</c:v>
                </c:pt>
                <c:pt idx="177">
                  <c:v>25</c:v>
                </c:pt>
                <c:pt idx="178">
                  <c:v>26</c:v>
                </c:pt>
                <c:pt idx="179">
                  <c:v>27</c:v>
                </c:pt>
                <c:pt idx="180">
                  <c:v>28</c:v>
                </c:pt>
                <c:pt idx="181">
                  <c:v>29</c:v>
                </c:pt>
                <c:pt idx="182">
                  <c:v>30</c:v>
                </c:pt>
                <c:pt idx="183">
                  <c:v>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BB-4EED-A644-DF008CDA966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E$244:$E$427</c:f>
              <c:numCache>
                <c:formatCode>General</c:formatCode>
                <c:ptCount val="184"/>
                <c:pt idx="153">
                  <c:v>11</c:v>
                </c:pt>
                <c:pt idx="154">
                  <c:v>11</c:v>
                </c:pt>
                <c:pt idx="155">
                  <c:v>12</c:v>
                </c:pt>
                <c:pt idx="156">
                  <c:v>13</c:v>
                </c:pt>
                <c:pt idx="157">
                  <c:v>13</c:v>
                </c:pt>
                <c:pt idx="158">
                  <c:v>14</c:v>
                </c:pt>
                <c:pt idx="159">
                  <c:v>15</c:v>
                </c:pt>
                <c:pt idx="160">
                  <c:v>16</c:v>
                </c:pt>
                <c:pt idx="161">
                  <c:v>16</c:v>
                </c:pt>
                <c:pt idx="162">
                  <c:v>17</c:v>
                </c:pt>
                <c:pt idx="163">
                  <c:v>18</c:v>
                </c:pt>
                <c:pt idx="164">
                  <c:v>19</c:v>
                </c:pt>
                <c:pt idx="165">
                  <c:v>20</c:v>
                </c:pt>
                <c:pt idx="166">
                  <c:v>21</c:v>
                </c:pt>
                <c:pt idx="167">
                  <c:v>22</c:v>
                </c:pt>
                <c:pt idx="168">
                  <c:v>23</c:v>
                </c:pt>
                <c:pt idx="169">
                  <c:v>24</c:v>
                </c:pt>
                <c:pt idx="170">
                  <c:v>26</c:v>
                </c:pt>
                <c:pt idx="171">
                  <c:v>27</c:v>
                </c:pt>
                <c:pt idx="172">
                  <c:v>28</c:v>
                </c:pt>
                <c:pt idx="173">
                  <c:v>30</c:v>
                </c:pt>
                <c:pt idx="174">
                  <c:v>31</c:v>
                </c:pt>
                <c:pt idx="175">
                  <c:v>33</c:v>
                </c:pt>
                <c:pt idx="176">
                  <c:v>34</c:v>
                </c:pt>
                <c:pt idx="177">
                  <c:v>36</c:v>
                </c:pt>
                <c:pt idx="178">
                  <c:v>38</c:v>
                </c:pt>
                <c:pt idx="179">
                  <c:v>40</c:v>
                </c:pt>
                <c:pt idx="180">
                  <c:v>42</c:v>
                </c:pt>
                <c:pt idx="181">
                  <c:v>44</c:v>
                </c:pt>
                <c:pt idx="182">
                  <c:v>46</c:v>
                </c:pt>
                <c:pt idx="183">
                  <c:v>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BB-4EED-A644-DF008CDA966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F$244:$F$427</c:f>
              <c:numCache>
                <c:formatCode>General</c:formatCode>
                <c:ptCount val="184"/>
                <c:pt idx="153">
                  <c:v>11</c:v>
                </c:pt>
                <c:pt idx="154">
                  <c:v>12</c:v>
                </c:pt>
                <c:pt idx="155">
                  <c:v>13</c:v>
                </c:pt>
                <c:pt idx="156">
                  <c:v>13</c:v>
                </c:pt>
                <c:pt idx="157">
                  <c:v>14</c:v>
                </c:pt>
                <c:pt idx="158">
                  <c:v>15</c:v>
                </c:pt>
                <c:pt idx="159">
                  <c:v>16</c:v>
                </c:pt>
                <c:pt idx="160">
                  <c:v>18</c:v>
                </c:pt>
                <c:pt idx="161">
                  <c:v>19</c:v>
                </c:pt>
                <c:pt idx="162">
                  <c:v>20</c:v>
                </c:pt>
                <c:pt idx="163">
                  <c:v>21</c:v>
                </c:pt>
                <c:pt idx="164">
                  <c:v>23</c:v>
                </c:pt>
                <c:pt idx="165">
                  <c:v>24</c:v>
                </c:pt>
                <c:pt idx="166">
                  <c:v>26</c:v>
                </c:pt>
                <c:pt idx="167">
                  <c:v>27</c:v>
                </c:pt>
                <c:pt idx="168">
                  <c:v>29</c:v>
                </c:pt>
                <c:pt idx="169">
                  <c:v>31</c:v>
                </c:pt>
                <c:pt idx="170">
                  <c:v>33</c:v>
                </c:pt>
                <c:pt idx="171">
                  <c:v>35</c:v>
                </c:pt>
                <c:pt idx="172">
                  <c:v>37</c:v>
                </c:pt>
                <c:pt idx="173">
                  <c:v>40</c:v>
                </c:pt>
                <c:pt idx="174">
                  <c:v>42</c:v>
                </c:pt>
                <c:pt idx="175">
                  <c:v>45</c:v>
                </c:pt>
                <c:pt idx="176">
                  <c:v>48</c:v>
                </c:pt>
                <c:pt idx="177">
                  <c:v>51</c:v>
                </c:pt>
                <c:pt idx="178">
                  <c:v>54</c:v>
                </c:pt>
                <c:pt idx="179">
                  <c:v>58</c:v>
                </c:pt>
                <c:pt idx="180">
                  <c:v>62</c:v>
                </c:pt>
                <c:pt idx="181">
                  <c:v>66</c:v>
                </c:pt>
                <c:pt idx="182">
                  <c:v>70</c:v>
                </c:pt>
                <c:pt idx="183">
                  <c:v>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BB-4EED-A644-DF008CDA9668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4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G$244:$G$427</c:f>
              <c:numCache>
                <c:formatCode>General</c:formatCode>
                <c:ptCount val="184"/>
                <c:pt idx="153">
                  <c:v>11</c:v>
                </c:pt>
                <c:pt idx="154">
                  <c:v>12</c:v>
                </c:pt>
                <c:pt idx="155">
                  <c:v>13</c:v>
                </c:pt>
                <c:pt idx="156">
                  <c:v>13</c:v>
                </c:pt>
                <c:pt idx="157">
                  <c:v>14</c:v>
                </c:pt>
                <c:pt idx="158">
                  <c:v>15</c:v>
                </c:pt>
                <c:pt idx="159">
                  <c:v>16</c:v>
                </c:pt>
                <c:pt idx="160">
                  <c:v>18</c:v>
                </c:pt>
                <c:pt idx="161">
                  <c:v>19</c:v>
                </c:pt>
                <c:pt idx="162">
                  <c:v>20</c:v>
                </c:pt>
                <c:pt idx="163">
                  <c:v>21</c:v>
                </c:pt>
                <c:pt idx="164">
                  <c:v>24</c:v>
                </c:pt>
                <c:pt idx="165">
                  <c:v>27</c:v>
                </c:pt>
                <c:pt idx="166">
                  <c:v>29</c:v>
                </c:pt>
                <c:pt idx="167">
                  <c:v>31</c:v>
                </c:pt>
                <c:pt idx="168">
                  <c:v>34</c:v>
                </c:pt>
                <c:pt idx="169">
                  <c:v>37</c:v>
                </c:pt>
                <c:pt idx="170">
                  <c:v>40</c:v>
                </c:pt>
                <c:pt idx="171">
                  <c:v>44</c:v>
                </c:pt>
                <c:pt idx="172">
                  <c:v>48</c:v>
                </c:pt>
                <c:pt idx="173">
                  <c:v>52</c:v>
                </c:pt>
                <c:pt idx="174">
                  <c:v>57</c:v>
                </c:pt>
                <c:pt idx="175">
                  <c:v>62</c:v>
                </c:pt>
                <c:pt idx="176">
                  <c:v>68</c:v>
                </c:pt>
                <c:pt idx="177">
                  <c:v>74</c:v>
                </c:pt>
                <c:pt idx="178">
                  <c:v>81</c:v>
                </c:pt>
                <c:pt idx="179">
                  <c:v>88</c:v>
                </c:pt>
                <c:pt idx="180">
                  <c:v>96</c:v>
                </c:pt>
                <c:pt idx="181">
                  <c:v>105</c:v>
                </c:pt>
                <c:pt idx="182">
                  <c:v>114</c:v>
                </c:pt>
                <c:pt idx="183">
                  <c:v>1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BB-4EED-A644-DF008CDA96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H$122:$H$274</c:f>
              <c:numCache>
                <c:formatCode>0</c:formatCode>
                <c:ptCount val="15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C96-4C9B-A802-3CE62B6AE08A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I$122:$I$274</c:f>
              <c:numCache>
                <c:formatCode>0</c:formatCode>
                <c:ptCount val="153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C96-4C9B-A802-3CE62B6AE0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B$122:$B$274</c:f>
              <c:numCache>
                <c:formatCode>0</c:formatCode>
                <c:ptCount val="153"/>
                <c:pt idx="0">
                  <c:v>36.160153319050075</c:v>
                </c:pt>
                <c:pt idx="1">
                  <c:v>35.482150444317888</c:v>
                </c:pt>
                <c:pt idx="2">
                  <c:v>35.256149486073824</c:v>
                </c:pt>
                <c:pt idx="3">
                  <c:v>36.386154277294139</c:v>
                </c:pt>
                <c:pt idx="4">
                  <c:v>34.352145653097566</c:v>
                </c:pt>
                <c:pt idx="5">
                  <c:v>36.160153319050075</c:v>
                </c:pt>
                <c:pt idx="6">
                  <c:v>31.414133195924752</c:v>
                </c:pt>
                <c:pt idx="7">
                  <c:v>26.668113072799429</c:v>
                </c:pt>
                <c:pt idx="8">
                  <c:v>27.120114989287554</c:v>
                </c:pt>
                <c:pt idx="9">
                  <c:v>27.572116905775683</c:v>
                </c:pt>
                <c:pt idx="10">
                  <c:v>23.278098699138482</c:v>
                </c:pt>
                <c:pt idx="11">
                  <c:v>22.826096782650357</c:v>
                </c:pt>
                <c:pt idx="12">
                  <c:v>20.114085283721604</c:v>
                </c:pt>
                <c:pt idx="13">
                  <c:v>20.792088158453794</c:v>
                </c:pt>
                <c:pt idx="14">
                  <c:v>20.566087200209729</c:v>
                </c:pt>
                <c:pt idx="15">
                  <c:v>17.628074743036912</c:v>
                </c:pt>
                <c:pt idx="16">
                  <c:v>13.334056536399714</c:v>
                </c:pt>
                <c:pt idx="17">
                  <c:v>12.882054619911589</c:v>
                </c:pt>
                <c:pt idx="18">
                  <c:v>12.882054619911589</c:v>
                </c:pt>
                <c:pt idx="19">
                  <c:v>14.012059411131904</c:v>
                </c:pt>
                <c:pt idx="20">
                  <c:v>11.978050786935336</c:v>
                </c:pt>
                <c:pt idx="21">
                  <c:v>9.2660392880065814</c:v>
                </c:pt>
                <c:pt idx="22">
                  <c:v>9.0400383297625186</c:v>
                </c:pt>
                <c:pt idx="23">
                  <c:v>8.8140373715184559</c:v>
                </c:pt>
                <c:pt idx="24">
                  <c:v>8.3620354550303286</c:v>
                </c:pt>
                <c:pt idx="25">
                  <c:v>8.5880364132743914</c:v>
                </c:pt>
                <c:pt idx="26">
                  <c:v>8.1360344967862659</c:v>
                </c:pt>
                <c:pt idx="27">
                  <c:v>7.4580316220540785</c:v>
                </c:pt>
                <c:pt idx="28">
                  <c:v>7.4580316220540785</c:v>
                </c:pt>
                <c:pt idx="29">
                  <c:v>7.0060297055659522</c:v>
                </c:pt>
                <c:pt idx="30">
                  <c:v>7.6840325802981395</c:v>
                </c:pt>
                <c:pt idx="31">
                  <c:v>8.1360344967862659</c:v>
                </c:pt>
                <c:pt idx="32">
                  <c:v>8.1360344967862659</c:v>
                </c:pt>
                <c:pt idx="33">
                  <c:v>7.2320306638100149</c:v>
                </c:pt>
                <c:pt idx="34">
                  <c:v>7.0060297055659522</c:v>
                </c:pt>
                <c:pt idx="35">
                  <c:v>7.0060297055659522</c:v>
                </c:pt>
                <c:pt idx="36">
                  <c:v>7.0060297055659522</c:v>
                </c:pt>
                <c:pt idx="37">
                  <c:v>7.9100335385422031</c:v>
                </c:pt>
                <c:pt idx="38">
                  <c:v>7.9100335385422031</c:v>
                </c:pt>
                <c:pt idx="39">
                  <c:v>8.3620354550303286</c:v>
                </c:pt>
                <c:pt idx="40">
                  <c:v>8.3620354550303286</c:v>
                </c:pt>
                <c:pt idx="41">
                  <c:v>8.3620354550303286</c:v>
                </c:pt>
                <c:pt idx="42">
                  <c:v>8.5880364132743914</c:v>
                </c:pt>
                <c:pt idx="43">
                  <c:v>9.0400383297625186</c:v>
                </c:pt>
                <c:pt idx="44">
                  <c:v>8.5880364132743914</c:v>
                </c:pt>
                <c:pt idx="45">
                  <c:v>8.5880364132743914</c:v>
                </c:pt>
                <c:pt idx="46">
                  <c:v>7.9100335385422031</c:v>
                </c:pt>
                <c:pt idx="47">
                  <c:v>8.3620354550303286</c:v>
                </c:pt>
                <c:pt idx="48">
                  <c:v>8.1360344967862659</c:v>
                </c:pt>
                <c:pt idx="49">
                  <c:v>9.0400383297625186</c:v>
                </c:pt>
                <c:pt idx="50">
                  <c:v>9.2660392880065814</c:v>
                </c:pt>
                <c:pt idx="51">
                  <c:v>9.0400383297625186</c:v>
                </c:pt>
                <c:pt idx="52">
                  <c:v>9.9440421627387696</c:v>
                </c:pt>
                <c:pt idx="53">
                  <c:v>10.170043120982834</c:v>
                </c:pt>
                <c:pt idx="54">
                  <c:v>10.848045995715021</c:v>
                </c:pt>
                <c:pt idx="55">
                  <c:v>10.848045995715021</c:v>
                </c:pt>
                <c:pt idx="56">
                  <c:v>12.430052703423463</c:v>
                </c:pt>
                <c:pt idx="57">
                  <c:v>12.430052703423463</c:v>
                </c:pt>
                <c:pt idx="58">
                  <c:v>13.108055578155652</c:v>
                </c:pt>
                <c:pt idx="59">
                  <c:v>11.300047912203148</c:v>
                </c:pt>
                <c:pt idx="60">
                  <c:v>11.300047912203148</c:v>
                </c:pt>
                <c:pt idx="61">
                  <c:v>10.62204503747096</c:v>
                </c:pt>
                <c:pt idx="62">
                  <c:v>10.848045995715021</c:v>
                </c:pt>
                <c:pt idx="63">
                  <c:v>7.9100335385422031</c:v>
                </c:pt>
                <c:pt idx="64">
                  <c:v>7.0060297055659522</c:v>
                </c:pt>
                <c:pt idx="65">
                  <c:v>7.0060297055659522</c:v>
                </c:pt>
                <c:pt idx="66">
                  <c:v>8.5880364132743914</c:v>
                </c:pt>
                <c:pt idx="67">
                  <c:v>8.3620354550303286</c:v>
                </c:pt>
                <c:pt idx="68">
                  <c:v>8.3620354550303286</c:v>
                </c:pt>
                <c:pt idx="69">
                  <c:v>8.1360344967862659</c:v>
                </c:pt>
                <c:pt idx="70">
                  <c:v>8.8140373715184559</c:v>
                </c:pt>
                <c:pt idx="71">
                  <c:v>8.5880364132743914</c:v>
                </c:pt>
                <c:pt idx="72">
                  <c:v>8.5880364132743914</c:v>
                </c:pt>
                <c:pt idx="73">
                  <c:v>7.6840325802981395</c:v>
                </c:pt>
                <c:pt idx="74">
                  <c:v>9.0400383297625186</c:v>
                </c:pt>
                <c:pt idx="75">
                  <c:v>12.430052703423463</c:v>
                </c:pt>
                <c:pt idx="76">
                  <c:v>15.368065160596279</c:v>
                </c:pt>
                <c:pt idx="77">
                  <c:v>19.210081450745353</c:v>
                </c:pt>
                <c:pt idx="78">
                  <c:v>21.696091991430041</c:v>
                </c:pt>
                <c:pt idx="79">
                  <c:v>21.47009103318598</c:v>
                </c:pt>
                <c:pt idx="80">
                  <c:v>21.922092949674106</c:v>
                </c:pt>
                <c:pt idx="81">
                  <c:v>21.018089116697855</c:v>
                </c:pt>
                <c:pt idx="82">
                  <c:v>16.950071868304722</c:v>
                </c:pt>
                <c:pt idx="83">
                  <c:v>16.046068035328467</c:v>
                </c:pt>
                <c:pt idx="84">
                  <c:v>14.012059411131904</c:v>
                </c:pt>
                <c:pt idx="85">
                  <c:v>12.430052703423463</c:v>
                </c:pt>
                <c:pt idx="86">
                  <c:v>12.656053661667526</c:v>
                </c:pt>
                <c:pt idx="87">
                  <c:v>12.882054619911589</c:v>
                </c:pt>
                <c:pt idx="88">
                  <c:v>13.108055578155652</c:v>
                </c:pt>
                <c:pt idx="89">
                  <c:v>14.46406132762003</c:v>
                </c:pt>
                <c:pt idx="90">
                  <c:v>12.882054619911589</c:v>
                </c:pt>
                <c:pt idx="91">
                  <c:v>11.526048870447211</c:v>
                </c:pt>
                <c:pt idx="92">
                  <c:v>12.430052703423463</c:v>
                </c:pt>
                <c:pt idx="93">
                  <c:v>13.560057494643777</c:v>
                </c:pt>
                <c:pt idx="94">
                  <c:v>12.882054619911589</c:v>
                </c:pt>
                <c:pt idx="95">
                  <c:v>12.882054619911589</c:v>
                </c:pt>
                <c:pt idx="96">
                  <c:v>14.238060369375967</c:v>
                </c:pt>
                <c:pt idx="97">
                  <c:v>16.046068035328467</c:v>
                </c:pt>
                <c:pt idx="98">
                  <c:v>16.498069951816596</c:v>
                </c:pt>
                <c:pt idx="99">
                  <c:v>14.690062285864093</c:v>
                </c:pt>
                <c:pt idx="100">
                  <c:v>13.334056536399714</c:v>
                </c:pt>
                <c:pt idx="101">
                  <c:v>14.238060369375967</c:v>
                </c:pt>
                <c:pt idx="102">
                  <c:v>13.786058452887842</c:v>
                </c:pt>
                <c:pt idx="103">
                  <c:v>10.848045995715021</c:v>
                </c:pt>
                <c:pt idx="104">
                  <c:v>9.4920402462506441</c:v>
                </c:pt>
                <c:pt idx="105">
                  <c:v>8.5880364132743914</c:v>
                </c:pt>
                <c:pt idx="106">
                  <c:v>9.4920402462506441</c:v>
                </c:pt>
                <c:pt idx="107">
                  <c:v>9.7180412044947069</c:v>
                </c:pt>
                <c:pt idx="108">
                  <c:v>9.4920402462506441</c:v>
                </c:pt>
                <c:pt idx="109">
                  <c:v>9.7180412044947069</c:v>
                </c:pt>
                <c:pt idx="110">
                  <c:v>11.526048870447211</c:v>
                </c:pt>
                <c:pt idx="111">
                  <c:v>10.62204503747096</c:v>
                </c:pt>
                <c:pt idx="112">
                  <c:v>12.204051745179399</c:v>
                </c:pt>
                <c:pt idx="113">
                  <c:v>11.752049828691273</c:v>
                </c:pt>
                <c:pt idx="114">
                  <c:v>11.074046953959085</c:v>
                </c:pt>
                <c:pt idx="115">
                  <c:v>9.4920402462506441</c:v>
                </c:pt>
                <c:pt idx="116">
                  <c:v>9.7180412044947069</c:v>
                </c:pt>
                <c:pt idx="117">
                  <c:v>8.3620354550303286</c:v>
                </c:pt>
                <c:pt idx="118">
                  <c:v>9.9440421627387696</c:v>
                </c:pt>
                <c:pt idx="119">
                  <c:v>7.2320306638100149</c:v>
                </c:pt>
                <c:pt idx="120">
                  <c:v>9.7180412044947069</c:v>
                </c:pt>
                <c:pt idx="121">
                  <c:v>11.752049828691273</c:v>
                </c:pt>
                <c:pt idx="122">
                  <c:v>16.046068035328467</c:v>
                </c:pt>
                <c:pt idx="123">
                  <c:v>16.272068993572532</c:v>
                </c:pt>
                <c:pt idx="124">
                  <c:v>18.080076659525037</c:v>
                </c:pt>
                <c:pt idx="125">
                  <c:v>19.888084325477539</c:v>
                </c:pt>
                <c:pt idx="126">
                  <c:v>22.14809390791817</c:v>
                </c:pt>
                <c:pt idx="127">
                  <c:v>26.216111156311303</c:v>
                </c:pt>
                <c:pt idx="128">
                  <c:v>26.442112114555364</c:v>
                </c:pt>
                <c:pt idx="129">
                  <c:v>25.538108281579113</c:v>
                </c:pt>
                <c:pt idx="130">
                  <c:v>25.538108281579113</c:v>
                </c:pt>
                <c:pt idx="131">
                  <c:v>25.312107323335052</c:v>
                </c:pt>
                <c:pt idx="132">
                  <c:v>24.408103490358798</c:v>
                </c:pt>
                <c:pt idx="133">
                  <c:v>28.024118822263809</c:v>
                </c:pt>
                <c:pt idx="134">
                  <c:v>23.052097740894421</c:v>
                </c:pt>
                <c:pt idx="135">
                  <c:v>25.312107323335052</c:v>
                </c:pt>
                <c:pt idx="136">
                  <c:v>25.312107323335052</c:v>
                </c:pt>
                <c:pt idx="137">
                  <c:v>25.538108281579113</c:v>
                </c:pt>
                <c:pt idx="138">
                  <c:v>25.312107323335052</c:v>
                </c:pt>
                <c:pt idx="139">
                  <c:v>32.544137987145064</c:v>
                </c:pt>
                <c:pt idx="140">
                  <c:v>38.420162901490706</c:v>
                </c:pt>
                <c:pt idx="141">
                  <c:v>48.816206980717595</c:v>
                </c:pt>
                <c:pt idx="142">
                  <c:v>61.246259684141066</c:v>
                </c:pt>
                <c:pt idx="143">
                  <c:v>76.61432484473734</c:v>
                </c:pt>
                <c:pt idx="144">
                  <c:v>82.716350717327046</c:v>
                </c:pt>
                <c:pt idx="145">
                  <c:v>88.366374673428624</c:v>
                </c:pt>
                <c:pt idx="146">
                  <c:v>99.66642258563175</c:v>
                </c:pt>
                <c:pt idx="147">
                  <c:v>117.068496370424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C96-4C9B-A802-3CE62B6AE0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C$122:$C$274</c:f>
              <c:numCache>
                <c:formatCode>General</c:formatCode>
                <c:ptCount val="15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C96-4C9B-A802-3CE62B6AE08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1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D$122:$D$274</c:f>
              <c:numCache>
                <c:formatCode>General</c:formatCode>
                <c:ptCount val="153"/>
                <c:pt idx="122">
                  <c:v>11.752049828691273</c:v>
                </c:pt>
                <c:pt idx="123">
                  <c:v>12.204051745179399</c:v>
                </c:pt>
                <c:pt idx="124">
                  <c:v>12.656053661667526</c:v>
                </c:pt>
                <c:pt idx="125">
                  <c:v>13.108055578155652</c:v>
                </c:pt>
                <c:pt idx="126">
                  <c:v>13.786058452887842</c:v>
                </c:pt>
                <c:pt idx="127">
                  <c:v>14.238060369375967</c:v>
                </c:pt>
                <c:pt idx="128">
                  <c:v>14.690062285864093</c:v>
                </c:pt>
                <c:pt idx="129">
                  <c:v>15.368065160596279</c:v>
                </c:pt>
                <c:pt idx="130">
                  <c:v>15.820067077084406</c:v>
                </c:pt>
                <c:pt idx="131">
                  <c:v>16.498069951816596</c:v>
                </c:pt>
                <c:pt idx="132">
                  <c:v>17.176072826548783</c:v>
                </c:pt>
                <c:pt idx="133">
                  <c:v>17.854075701280973</c:v>
                </c:pt>
                <c:pt idx="134">
                  <c:v>18.532078576013163</c:v>
                </c:pt>
                <c:pt idx="135">
                  <c:v>19.436082408989414</c:v>
                </c:pt>
                <c:pt idx="136">
                  <c:v>20.114085283721604</c:v>
                </c:pt>
                <c:pt idx="137">
                  <c:v>21.018089116697855</c:v>
                </c:pt>
                <c:pt idx="138">
                  <c:v>21.696091991430041</c:v>
                </c:pt>
                <c:pt idx="139">
                  <c:v>22.600095824406296</c:v>
                </c:pt>
                <c:pt idx="140">
                  <c:v>23.278098699138482</c:v>
                </c:pt>
                <c:pt idx="141">
                  <c:v>24.182102532114737</c:v>
                </c:pt>
                <c:pt idx="142">
                  <c:v>24.860105406846927</c:v>
                </c:pt>
                <c:pt idx="143">
                  <c:v>25.764109239823178</c:v>
                </c:pt>
                <c:pt idx="144">
                  <c:v>26.668113072799429</c:v>
                </c:pt>
                <c:pt idx="145">
                  <c:v>27.572116905775683</c:v>
                </c:pt>
                <c:pt idx="146">
                  <c:v>28.476120738751934</c:v>
                </c:pt>
                <c:pt idx="147">
                  <c:v>29.606125529972246</c:v>
                </c:pt>
                <c:pt idx="148">
                  <c:v>30.510129362948501</c:v>
                </c:pt>
                <c:pt idx="149">
                  <c:v>31.640134154168813</c:v>
                </c:pt>
                <c:pt idx="150">
                  <c:v>32.770138945389128</c:v>
                </c:pt>
                <c:pt idx="151">
                  <c:v>33.900143736609444</c:v>
                </c:pt>
                <c:pt idx="152">
                  <c:v>35.2561494860738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C96-4C9B-A802-3CE62B6AE08A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E$122:$E$274</c:f>
              <c:numCache>
                <c:formatCode>General</c:formatCode>
                <c:ptCount val="153"/>
                <c:pt idx="122">
                  <c:v>11.978050786935336</c:v>
                </c:pt>
                <c:pt idx="123">
                  <c:v>12.430052703423463</c:v>
                </c:pt>
                <c:pt idx="124">
                  <c:v>13.108055578155652</c:v>
                </c:pt>
                <c:pt idx="125">
                  <c:v>13.786058452887842</c:v>
                </c:pt>
                <c:pt idx="126">
                  <c:v>14.690062285864093</c:v>
                </c:pt>
                <c:pt idx="127">
                  <c:v>15.368065160596279</c:v>
                </c:pt>
                <c:pt idx="128">
                  <c:v>16.272068993572532</c:v>
                </c:pt>
                <c:pt idx="129">
                  <c:v>16.950071868304722</c:v>
                </c:pt>
                <c:pt idx="130">
                  <c:v>17.854075701280973</c:v>
                </c:pt>
                <c:pt idx="131">
                  <c:v>18.758079534257224</c:v>
                </c:pt>
                <c:pt idx="132">
                  <c:v>19.662083367233478</c:v>
                </c:pt>
                <c:pt idx="133">
                  <c:v>20.566087200209729</c:v>
                </c:pt>
                <c:pt idx="134">
                  <c:v>21.696091991430041</c:v>
                </c:pt>
                <c:pt idx="135">
                  <c:v>22.826096782650357</c:v>
                </c:pt>
                <c:pt idx="136">
                  <c:v>24.182102532114737</c:v>
                </c:pt>
                <c:pt idx="137">
                  <c:v>25.538108281579113</c:v>
                </c:pt>
                <c:pt idx="138">
                  <c:v>26.668113072799429</c:v>
                </c:pt>
                <c:pt idx="139">
                  <c:v>28.024118822263809</c:v>
                </c:pt>
                <c:pt idx="140">
                  <c:v>29.606125529972246</c:v>
                </c:pt>
                <c:pt idx="141">
                  <c:v>31.188132237680687</c:v>
                </c:pt>
                <c:pt idx="142">
                  <c:v>32.770138945389128</c:v>
                </c:pt>
                <c:pt idx="143">
                  <c:v>34.352145653097566</c:v>
                </c:pt>
                <c:pt idx="144">
                  <c:v>35.93415236080601</c:v>
                </c:pt>
                <c:pt idx="145">
                  <c:v>37.968160985002577</c:v>
                </c:pt>
                <c:pt idx="146">
                  <c:v>40.002169609199143</c:v>
                </c:pt>
                <c:pt idx="147">
                  <c:v>41.810177275151645</c:v>
                </c:pt>
                <c:pt idx="148">
                  <c:v>43.844185899348211</c:v>
                </c:pt>
                <c:pt idx="149">
                  <c:v>46.104195481788842</c:v>
                </c:pt>
                <c:pt idx="150">
                  <c:v>48.364205064229473</c:v>
                </c:pt>
                <c:pt idx="151">
                  <c:v>50.850215604914169</c:v>
                </c:pt>
                <c:pt idx="152">
                  <c:v>53.3362261455988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C96-4C9B-A802-3CE62B6AE08A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F$122:$F$274</c:f>
              <c:numCache>
                <c:formatCode>General</c:formatCode>
                <c:ptCount val="153"/>
                <c:pt idx="122">
                  <c:v>11.978050786935336</c:v>
                </c:pt>
                <c:pt idx="123">
                  <c:v>12.656053661667526</c:v>
                </c:pt>
                <c:pt idx="124">
                  <c:v>13.334056536399714</c:v>
                </c:pt>
                <c:pt idx="125">
                  <c:v>14.238060369375967</c:v>
                </c:pt>
                <c:pt idx="126">
                  <c:v>15.14206420235222</c:v>
                </c:pt>
                <c:pt idx="127">
                  <c:v>16.046068035328467</c:v>
                </c:pt>
                <c:pt idx="128">
                  <c:v>17.176072826548783</c:v>
                </c:pt>
                <c:pt idx="129">
                  <c:v>18.306077617769098</c:v>
                </c:pt>
                <c:pt idx="130">
                  <c:v>19.436082408989414</c:v>
                </c:pt>
                <c:pt idx="131">
                  <c:v>20.792088158453794</c:v>
                </c:pt>
                <c:pt idx="132">
                  <c:v>22.14809390791817</c:v>
                </c:pt>
                <c:pt idx="133">
                  <c:v>23.730100615626611</c:v>
                </c:pt>
                <c:pt idx="134">
                  <c:v>25.312107323335052</c:v>
                </c:pt>
                <c:pt idx="135">
                  <c:v>27.120114989287554</c:v>
                </c:pt>
                <c:pt idx="136">
                  <c:v>28.92812265524006</c:v>
                </c:pt>
                <c:pt idx="137">
                  <c:v>30.736130321192558</c:v>
                </c:pt>
                <c:pt idx="138">
                  <c:v>32.770138945389128</c:v>
                </c:pt>
                <c:pt idx="139">
                  <c:v>34.804147569585695</c:v>
                </c:pt>
                <c:pt idx="140">
                  <c:v>37.064157152026326</c:v>
                </c:pt>
                <c:pt idx="141">
                  <c:v>39.550167692711014</c:v>
                </c:pt>
                <c:pt idx="142">
                  <c:v>42.036178233395709</c:v>
                </c:pt>
                <c:pt idx="143">
                  <c:v>44.748189732324462</c:v>
                </c:pt>
                <c:pt idx="144">
                  <c:v>47.686202189497287</c:v>
                </c:pt>
                <c:pt idx="145">
                  <c:v>50.624214646670104</c:v>
                </c:pt>
                <c:pt idx="146">
                  <c:v>54.014229020331044</c:v>
                </c:pt>
                <c:pt idx="147">
                  <c:v>57.630244352236055</c:v>
                </c:pt>
                <c:pt idx="148">
                  <c:v>61.246259684141066</c:v>
                </c:pt>
                <c:pt idx="149">
                  <c:v>65.088275974290127</c:v>
                </c:pt>
                <c:pt idx="150">
                  <c:v>69.382294180927317</c:v>
                </c:pt>
                <c:pt idx="151">
                  <c:v>73.902313345808579</c:v>
                </c:pt>
                <c:pt idx="152">
                  <c:v>78.874334427177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2C96-4C9B-A802-3CE62B6AE08A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4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G$122:$G$274</c:f>
              <c:numCache>
                <c:formatCode>General</c:formatCode>
                <c:ptCount val="153"/>
                <c:pt idx="122">
                  <c:v>11.978050786935336</c:v>
                </c:pt>
                <c:pt idx="123">
                  <c:v>12.656053661667526</c:v>
                </c:pt>
                <c:pt idx="124">
                  <c:v>13.334056536399714</c:v>
                </c:pt>
                <c:pt idx="125">
                  <c:v>14.238060369375967</c:v>
                </c:pt>
                <c:pt idx="126">
                  <c:v>15.14206420235222</c:v>
                </c:pt>
                <c:pt idx="127">
                  <c:v>16.046068035328467</c:v>
                </c:pt>
                <c:pt idx="128">
                  <c:v>17.176072826548783</c:v>
                </c:pt>
                <c:pt idx="129">
                  <c:v>18.306077617769098</c:v>
                </c:pt>
                <c:pt idx="130">
                  <c:v>19.436082408989414</c:v>
                </c:pt>
                <c:pt idx="131">
                  <c:v>20.792088158453794</c:v>
                </c:pt>
                <c:pt idx="132">
                  <c:v>22.14809390791817</c:v>
                </c:pt>
                <c:pt idx="133">
                  <c:v>23.956101573870672</c:v>
                </c:pt>
                <c:pt idx="134">
                  <c:v>25.990110198067239</c:v>
                </c:pt>
                <c:pt idx="135">
                  <c:v>28.25011978050787</c:v>
                </c:pt>
                <c:pt idx="136">
                  <c:v>30.736130321192558</c:v>
                </c:pt>
                <c:pt idx="137">
                  <c:v>33.448141820121315</c:v>
                </c:pt>
                <c:pt idx="138">
                  <c:v>36.386154277294139</c:v>
                </c:pt>
                <c:pt idx="139">
                  <c:v>39.776168650955078</c:v>
                </c:pt>
                <c:pt idx="140">
                  <c:v>43.618184941104154</c:v>
                </c:pt>
                <c:pt idx="141">
                  <c:v>47.686202189497287</c:v>
                </c:pt>
                <c:pt idx="142">
                  <c:v>51.980220396134477</c:v>
                </c:pt>
                <c:pt idx="143">
                  <c:v>56.726240519259804</c:v>
                </c:pt>
                <c:pt idx="144">
                  <c:v>61.924262558873252</c:v>
                </c:pt>
                <c:pt idx="145">
                  <c:v>67.800287473218887</c:v>
                </c:pt>
                <c:pt idx="146">
                  <c:v>74.128314304052651</c:v>
                </c:pt>
                <c:pt idx="147">
                  <c:v>80.682342093130472</c:v>
                </c:pt>
                <c:pt idx="148">
                  <c:v>87.914372756940494</c:v>
                </c:pt>
                <c:pt idx="149">
                  <c:v>95.824406295482689</c:v>
                </c:pt>
                <c:pt idx="150">
                  <c:v>104.41244270875708</c:v>
                </c:pt>
                <c:pt idx="151">
                  <c:v>113.90448295500774</c:v>
                </c:pt>
                <c:pt idx="152">
                  <c:v>124.074526075990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2C96-4C9B-A802-3CE62B6AE0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B$244:$B$427</c:f>
              <c:numCache>
                <c:formatCode>0</c:formatCode>
                <c:ptCount val="184"/>
                <c:pt idx="0">
                  <c:v>39</c:v>
                </c:pt>
                <c:pt idx="1">
                  <c:v>15</c:v>
                </c:pt>
                <c:pt idx="2">
                  <c:v>31</c:v>
                </c:pt>
                <c:pt idx="3">
                  <c:v>38</c:v>
                </c:pt>
                <c:pt idx="4">
                  <c:v>45</c:v>
                </c:pt>
                <c:pt idx="5">
                  <c:v>25</c:v>
                </c:pt>
                <c:pt idx="6">
                  <c:v>40</c:v>
                </c:pt>
                <c:pt idx="7">
                  <c:v>11</c:v>
                </c:pt>
                <c:pt idx="8">
                  <c:v>23</c:v>
                </c:pt>
                <c:pt idx="9">
                  <c:v>17</c:v>
                </c:pt>
                <c:pt idx="10">
                  <c:v>27</c:v>
                </c:pt>
                <c:pt idx="11">
                  <c:v>29</c:v>
                </c:pt>
                <c:pt idx="12">
                  <c:v>32</c:v>
                </c:pt>
                <c:pt idx="13">
                  <c:v>23</c:v>
                </c:pt>
                <c:pt idx="14">
                  <c:v>10</c:v>
                </c:pt>
                <c:pt idx="15">
                  <c:v>16</c:v>
                </c:pt>
                <c:pt idx="16">
                  <c:v>25</c:v>
                </c:pt>
                <c:pt idx="17">
                  <c:v>29</c:v>
                </c:pt>
                <c:pt idx="18">
                  <c:v>8</c:v>
                </c:pt>
                <c:pt idx="19">
                  <c:v>21</c:v>
                </c:pt>
                <c:pt idx="20">
                  <c:v>11</c:v>
                </c:pt>
                <c:pt idx="21">
                  <c:v>10</c:v>
                </c:pt>
                <c:pt idx="22">
                  <c:v>9</c:v>
                </c:pt>
                <c:pt idx="23">
                  <c:v>9</c:v>
                </c:pt>
                <c:pt idx="24">
                  <c:v>12</c:v>
                </c:pt>
                <c:pt idx="25">
                  <c:v>13</c:v>
                </c:pt>
                <c:pt idx="26">
                  <c:v>9</c:v>
                </c:pt>
                <c:pt idx="27">
                  <c:v>13</c:v>
                </c:pt>
                <c:pt idx="28">
                  <c:v>1</c:v>
                </c:pt>
                <c:pt idx="29">
                  <c:v>3</c:v>
                </c:pt>
                <c:pt idx="30">
                  <c:v>7</c:v>
                </c:pt>
                <c:pt idx="31">
                  <c:v>10</c:v>
                </c:pt>
                <c:pt idx="32">
                  <c:v>8</c:v>
                </c:pt>
                <c:pt idx="33">
                  <c:v>8</c:v>
                </c:pt>
                <c:pt idx="34">
                  <c:v>7</c:v>
                </c:pt>
                <c:pt idx="35">
                  <c:v>2</c:v>
                </c:pt>
                <c:pt idx="36">
                  <c:v>0</c:v>
                </c:pt>
                <c:pt idx="37">
                  <c:v>2</c:v>
                </c:pt>
                <c:pt idx="38">
                  <c:v>4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  <c:pt idx="42">
                  <c:v>3</c:v>
                </c:pt>
                <c:pt idx="43">
                  <c:v>0</c:v>
                </c:pt>
                <c:pt idx="44">
                  <c:v>5</c:v>
                </c:pt>
                <c:pt idx="45">
                  <c:v>4</c:v>
                </c:pt>
                <c:pt idx="46">
                  <c:v>1</c:v>
                </c:pt>
                <c:pt idx="47">
                  <c:v>2</c:v>
                </c:pt>
                <c:pt idx="48">
                  <c:v>2</c:v>
                </c:pt>
                <c:pt idx="49">
                  <c:v>1</c:v>
                </c:pt>
                <c:pt idx="50">
                  <c:v>0</c:v>
                </c:pt>
                <c:pt idx="51">
                  <c:v>1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2</c:v>
                </c:pt>
                <c:pt idx="56">
                  <c:v>1</c:v>
                </c:pt>
                <c:pt idx="57">
                  <c:v>1</c:v>
                </c:pt>
                <c:pt idx="58">
                  <c:v>3</c:v>
                </c:pt>
                <c:pt idx="59">
                  <c:v>0</c:v>
                </c:pt>
                <c:pt idx="60">
                  <c:v>0</c:v>
                </c:pt>
                <c:pt idx="61">
                  <c:v>3</c:v>
                </c:pt>
                <c:pt idx="62">
                  <c:v>2</c:v>
                </c:pt>
                <c:pt idx="63">
                  <c:v>2</c:v>
                </c:pt>
                <c:pt idx="64">
                  <c:v>1</c:v>
                </c:pt>
                <c:pt idx="65">
                  <c:v>3</c:v>
                </c:pt>
                <c:pt idx="66">
                  <c:v>3</c:v>
                </c:pt>
                <c:pt idx="67">
                  <c:v>2</c:v>
                </c:pt>
                <c:pt idx="68">
                  <c:v>13</c:v>
                </c:pt>
                <c:pt idx="69">
                  <c:v>3</c:v>
                </c:pt>
                <c:pt idx="70">
                  <c:v>3</c:v>
                </c:pt>
                <c:pt idx="71">
                  <c:v>4</c:v>
                </c:pt>
                <c:pt idx="72">
                  <c:v>3</c:v>
                </c:pt>
                <c:pt idx="73">
                  <c:v>11</c:v>
                </c:pt>
                <c:pt idx="74">
                  <c:v>5</c:v>
                </c:pt>
                <c:pt idx="75">
                  <c:v>10</c:v>
                </c:pt>
                <c:pt idx="76">
                  <c:v>3</c:v>
                </c:pt>
                <c:pt idx="77">
                  <c:v>5</c:v>
                </c:pt>
                <c:pt idx="78">
                  <c:v>2</c:v>
                </c:pt>
                <c:pt idx="79">
                  <c:v>4</c:v>
                </c:pt>
                <c:pt idx="80">
                  <c:v>8</c:v>
                </c:pt>
                <c:pt idx="81">
                  <c:v>5</c:v>
                </c:pt>
                <c:pt idx="82">
                  <c:v>5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6</c:v>
                </c:pt>
                <c:pt idx="87">
                  <c:v>8</c:v>
                </c:pt>
                <c:pt idx="88">
                  <c:v>10</c:v>
                </c:pt>
                <c:pt idx="89">
                  <c:v>14</c:v>
                </c:pt>
                <c:pt idx="90">
                  <c:v>7</c:v>
                </c:pt>
                <c:pt idx="91">
                  <c:v>5</c:v>
                </c:pt>
                <c:pt idx="92">
                  <c:v>7</c:v>
                </c:pt>
                <c:pt idx="93">
                  <c:v>6</c:v>
                </c:pt>
                <c:pt idx="94">
                  <c:v>6</c:v>
                </c:pt>
                <c:pt idx="95">
                  <c:v>15</c:v>
                </c:pt>
                <c:pt idx="96">
                  <c:v>4</c:v>
                </c:pt>
                <c:pt idx="97">
                  <c:v>7</c:v>
                </c:pt>
                <c:pt idx="98">
                  <c:v>3</c:v>
                </c:pt>
                <c:pt idx="99">
                  <c:v>3</c:v>
                </c:pt>
                <c:pt idx="100">
                  <c:v>4</c:v>
                </c:pt>
                <c:pt idx="101">
                  <c:v>3</c:v>
                </c:pt>
                <c:pt idx="102">
                  <c:v>5</c:v>
                </c:pt>
                <c:pt idx="103">
                  <c:v>8</c:v>
                </c:pt>
                <c:pt idx="104">
                  <c:v>7</c:v>
                </c:pt>
                <c:pt idx="105">
                  <c:v>2</c:v>
                </c:pt>
                <c:pt idx="106">
                  <c:v>2</c:v>
                </c:pt>
                <c:pt idx="107">
                  <c:v>9</c:v>
                </c:pt>
                <c:pt idx="108">
                  <c:v>7</c:v>
                </c:pt>
                <c:pt idx="109">
                  <c:v>8</c:v>
                </c:pt>
                <c:pt idx="110">
                  <c:v>0</c:v>
                </c:pt>
                <c:pt idx="111">
                  <c:v>3</c:v>
                </c:pt>
                <c:pt idx="112">
                  <c:v>2</c:v>
                </c:pt>
                <c:pt idx="113">
                  <c:v>3</c:v>
                </c:pt>
                <c:pt idx="114">
                  <c:v>5</c:v>
                </c:pt>
                <c:pt idx="115">
                  <c:v>6</c:v>
                </c:pt>
                <c:pt idx="116">
                  <c:v>4</c:v>
                </c:pt>
                <c:pt idx="117">
                  <c:v>7</c:v>
                </c:pt>
                <c:pt idx="118">
                  <c:v>1</c:v>
                </c:pt>
                <c:pt idx="119">
                  <c:v>4</c:v>
                </c:pt>
                <c:pt idx="120">
                  <c:v>0</c:v>
                </c:pt>
                <c:pt idx="121">
                  <c:v>3</c:v>
                </c:pt>
                <c:pt idx="122">
                  <c:v>7</c:v>
                </c:pt>
                <c:pt idx="123">
                  <c:v>2</c:v>
                </c:pt>
                <c:pt idx="124">
                  <c:v>10</c:v>
                </c:pt>
                <c:pt idx="125">
                  <c:v>6</c:v>
                </c:pt>
                <c:pt idx="126">
                  <c:v>4</c:v>
                </c:pt>
                <c:pt idx="127">
                  <c:v>4</c:v>
                </c:pt>
                <c:pt idx="128">
                  <c:v>10</c:v>
                </c:pt>
                <c:pt idx="129">
                  <c:v>13</c:v>
                </c:pt>
                <c:pt idx="130">
                  <c:v>21</c:v>
                </c:pt>
                <c:pt idx="131">
                  <c:v>14</c:v>
                </c:pt>
                <c:pt idx="132">
                  <c:v>14</c:v>
                </c:pt>
                <c:pt idx="133">
                  <c:v>8</c:v>
                </c:pt>
                <c:pt idx="134">
                  <c:v>7</c:v>
                </c:pt>
                <c:pt idx="135">
                  <c:v>13</c:v>
                </c:pt>
                <c:pt idx="136">
                  <c:v>12</c:v>
                </c:pt>
                <c:pt idx="137">
                  <c:v>13</c:v>
                </c:pt>
                <c:pt idx="138">
                  <c:v>9</c:v>
                </c:pt>
                <c:pt idx="139">
                  <c:v>14</c:v>
                </c:pt>
                <c:pt idx="140">
                  <c:v>8</c:v>
                </c:pt>
                <c:pt idx="141">
                  <c:v>1</c:v>
                </c:pt>
                <c:pt idx="142">
                  <c:v>5</c:v>
                </c:pt>
                <c:pt idx="143">
                  <c:v>11</c:v>
                </c:pt>
                <c:pt idx="144">
                  <c:v>13</c:v>
                </c:pt>
                <c:pt idx="145">
                  <c:v>7</c:v>
                </c:pt>
                <c:pt idx="146">
                  <c:v>4</c:v>
                </c:pt>
                <c:pt idx="147">
                  <c:v>5</c:v>
                </c:pt>
                <c:pt idx="148">
                  <c:v>4</c:v>
                </c:pt>
                <c:pt idx="149">
                  <c:v>10</c:v>
                </c:pt>
                <c:pt idx="150">
                  <c:v>8</c:v>
                </c:pt>
                <c:pt idx="151">
                  <c:v>10</c:v>
                </c:pt>
                <c:pt idx="152">
                  <c:v>24</c:v>
                </c:pt>
                <c:pt idx="153">
                  <c:v>19</c:v>
                </c:pt>
                <c:pt idx="154">
                  <c:v>7</c:v>
                </c:pt>
                <c:pt idx="155">
                  <c:v>7</c:v>
                </c:pt>
                <c:pt idx="156">
                  <c:v>20</c:v>
                </c:pt>
                <c:pt idx="157">
                  <c:v>23</c:v>
                </c:pt>
                <c:pt idx="158">
                  <c:v>17</c:v>
                </c:pt>
                <c:pt idx="159">
                  <c:v>16</c:v>
                </c:pt>
                <c:pt idx="160">
                  <c:v>8</c:v>
                </c:pt>
                <c:pt idx="161">
                  <c:v>17</c:v>
                </c:pt>
                <c:pt idx="162">
                  <c:v>12</c:v>
                </c:pt>
                <c:pt idx="163">
                  <c:v>24</c:v>
                </c:pt>
                <c:pt idx="164">
                  <c:v>33</c:v>
                </c:pt>
                <c:pt idx="165">
                  <c:v>20</c:v>
                </c:pt>
                <c:pt idx="166">
                  <c:v>22</c:v>
                </c:pt>
                <c:pt idx="167">
                  <c:v>26</c:v>
                </c:pt>
                <c:pt idx="168">
                  <c:v>7</c:v>
                </c:pt>
                <c:pt idx="169">
                  <c:v>17</c:v>
                </c:pt>
                <c:pt idx="170">
                  <c:v>40</c:v>
                </c:pt>
                <c:pt idx="171">
                  <c:v>52</c:v>
                </c:pt>
                <c:pt idx="172">
                  <c:v>52</c:v>
                </c:pt>
                <c:pt idx="173">
                  <c:v>99</c:v>
                </c:pt>
                <c:pt idx="174">
                  <c:v>68</c:v>
                </c:pt>
                <c:pt idx="175">
                  <c:v>46</c:v>
                </c:pt>
                <c:pt idx="176">
                  <c:v>71</c:v>
                </c:pt>
                <c:pt idx="177">
                  <c:v>102</c:v>
                </c:pt>
                <c:pt idx="178">
                  <c:v>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215-49AF-9DEC-B2DA325881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C$244:$C$427</c:f>
              <c:numCache>
                <c:formatCode>General</c:formatCode>
                <c:ptCount val="18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5-49AF-9DEC-B2DA325881D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D$244:$D$427</c:f>
              <c:numCache>
                <c:formatCode>General</c:formatCode>
                <c:ptCount val="184"/>
                <c:pt idx="73">
                  <c:v>0</c:v>
                </c:pt>
                <c:pt idx="153">
                  <c:v>13</c:v>
                </c:pt>
                <c:pt idx="154">
                  <c:v>14</c:v>
                </c:pt>
                <c:pt idx="155">
                  <c:v>14</c:v>
                </c:pt>
                <c:pt idx="156">
                  <c:v>15</c:v>
                </c:pt>
                <c:pt idx="157">
                  <c:v>15</c:v>
                </c:pt>
                <c:pt idx="158">
                  <c:v>16</c:v>
                </c:pt>
                <c:pt idx="159">
                  <c:v>16</c:v>
                </c:pt>
                <c:pt idx="160">
                  <c:v>17</c:v>
                </c:pt>
                <c:pt idx="161">
                  <c:v>18</c:v>
                </c:pt>
                <c:pt idx="162">
                  <c:v>18</c:v>
                </c:pt>
                <c:pt idx="163">
                  <c:v>19</c:v>
                </c:pt>
                <c:pt idx="164">
                  <c:v>20</c:v>
                </c:pt>
                <c:pt idx="165">
                  <c:v>20</c:v>
                </c:pt>
                <c:pt idx="166">
                  <c:v>21</c:v>
                </c:pt>
                <c:pt idx="167">
                  <c:v>22</c:v>
                </c:pt>
                <c:pt idx="168">
                  <c:v>23</c:v>
                </c:pt>
                <c:pt idx="169">
                  <c:v>23</c:v>
                </c:pt>
                <c:pt idx="170">
                  <c:v>24</c:v>
                </c:pt>
                <c:pt idx="171">
                  <c:v>25</c:v>
                </c:pt>
                <c:pt idx="172">
                  <c:v>26</c:v>
                </c:pt>
                <c:pt idx="173">
                  <c:v>27</c:v>
                </c:pt>
                <c:pt idx="174">
                  <c:v>28</c:v>
                </c:pt>
                <c:pt idx="175">
                  <c:v>29</c:v>
                </c:pt>
                <c:pt idx="176">
                  <c:v>30</c:v>
                </c:pt>
                <c:pt idx="177">
                  <c:v>31</c:v>
                </c:pt>
                <c:pt idx="178">
                  <c:v>32</c:v>
                </c:pt>
                <c:pt idx="179">
                  <c:v>33</c:v>
                </c:pt>
                <c:pt idx="180">
                  <c:v>35</c:v>
                </c:pt>
                <c:pt idx="181">
                  <c:v>36</c:v>
                </c:pt>
                <c:pt idx="182">
                  <c:v>37</c:v>
                </c:pt>
                <c:pt idx="183">
                  <c:v>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5-49AF-9DEC-B2DA325881D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E$244:$E$427</c:f>
              <c:numCache>
                <c:formatCode>General</c:formatCode>
                <c:ptCount val="184"/>
                <c:pt idx="153">
                  <c:v>14</c:v>
                </c:pt>
                <c:pt idx="154">
                  <c:v>14</c:v>
                </c:pt>
                <c:pt idx="155">
                  <c:v>15</c:v>
                </c:pt>
                <c:pt idx="156">
                  <c:v>16</c:v>
                </c:pt>
                <c:pt idx="157">
                  <c:v>16</c:v>
                </c:pt>
                <c:pt idx="158">
                  <c:v>17</c:v>
                </c:pt>
                <c:pt idx="159">
                  <c:v>18</c:v>
                </c:pt>
                <c:pt idx="160">
                  <c:v>19</c:v>
                </c:pt>
                <c:pt idx="161">
                  <c:v>20</c:v>
                </c:pt>
                <c:pt idx="162">
                  <c:v>21</c:v>
                </c:pt>
                <c:pt idx="163">
                  <c:v>22</c:v>
                </c:pt>
                <c:pt idx="164">
                  <c:v>24</c:v>
                </c:pt>
                <c:pt idx="165">
                  <c:v>25</c:v>
                </c:pt>
                <c:pt idx="166">
                  <c:v>26</c:v>
                </c:pt>
                <c:pt idx="167">
                  <c:v>28</c:v>
                </c:pt>
                <c:pt idx="168">
                  <c:v>29</c:v>
                </c:pt>
                <c:pt idx="169">
                  <c:v>30</c:v>
                </c:pt>
                <c:pt idx="170">
                  <c:v>32</c:v>
                </c:pt>
                <c:pt idx="171">
                  <c:v>34</c:v>
                </c:pt>
                <c:pt idx="172">
                  <c:v>35</c:v>
                </c:pt>
                <c:pt idx="173">
                  <c:v>37</c:v>
                </c:pt>
                <c:pt idx="174">
                  <c:v>39</c:v>
                </c:pt>
                <c:pt idx="175">
                  <c:v>41</c:v>
                </c:pt>
                <c:pt idx="176">
                  <c:v>43</c:v>
                </c:pt>
                <c:pt idx="177">
                  <c:v>45</c:v>
                </c:pt>
                <c:pt idx="178">
                  <c:v>47</c:v>
                </c:pt>
                <c:pt idx="179">
                  <c:v>50</c:v>
                </c:pt>
                <c:pt idx="180">
                  <c:v>52</c:v>
                </c:pt>
                <c:pt idx="181">
                  <c:v>55</c:v>
                </c:pt>
                <c:pt idx="182">
                  <c:v>58</c:v>
                </c:pt>
                <c:pt idx="183">
                  <c:v>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215-49AF-9DEC-B2DA325881DF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F$244:$F$427</c:f>
              <c:numCache>
                <c:formatCode>General</c:formatCode>
                <c:ptCount val="184"/>
                <c:pt idx="153">
                  <c:v>14</c:v>
                </c:pt>
                <c:pt idx="154">
                  <c:v>15</c:v>
                </c:pt>
                <c:pt idx="155">
                  <c:v>16</c:v>
                </c:pt>
                <c:pt idx="156">
                  <c:v>17</c:v>
                </c:pt>
                <c:pt idx="157">
                  <c:v>18</c:v>
                </c:pt>
                <c:pt idx="158">
                  <c:v>19</c:v>
                </c:pt>
                <c:pt idx="159">
                  <c:v>21</c:v>
                </c:pt>
                <c:pt idx="160">
                  <c:v>22</c:v>
                </c:pt>
                <c:pt idx="161">
                  <c:v>23</c:v>
                </c:pt>
                <c:pt idx="162">
                  <c:v>25</c:v>
                </c:pt>
                <c:pt idx="163">
                  <c:v>26</c:v>
                </c:pt>
                <c:pt idx="164">
                  <c:v>28</c:v>
                </c:pt>
                <c:pt idx="165">
                  <c:v>30</c:v>
                </c:pt>
                <c:pt idx="166">
                  <c:v>32</c:v>
                </c:pt>
                <c:pt idx="167">
                  <c:v>34</c:v>
                </c:pt>
                <c:pt idx="168">
                  <c:v>36</c:v>
                </c:pt>
                <c:pt idx="169">
                  <c:v>39</c:v>
                </c:pt>
                <c:pt idx="170">
                  <c:v>41</c:v>
                </c:pt>
                <c:pt idx="171">
                  <c:v>44</c:v>
                </c:pt>
                <c:pt idx="172">
                  <c:v>47</c:v>
                </c:pt>
                <c:pt idx="173">
                  <c:v>50</c:v>
                </c:pt>
                <c:pt idx="174">
                  <c:v>53</c:v>
                </c:pt>
                <c:pt idx="175">
                  <c:v>56</c:v>
                </c:pt>
                <c:pt idx="176">
                  <c:v>60</c:v>
                </c:pt>
                <c:pt idx="177">
                  <c:v>64</c:v>
                </c:pt>
                <c:pt idx="178">
                  <c:v>68</c:v>
                </c:pt>
                <c:pt idx="179">
                  <c:v>72</c:v>
                </c:pt>
                <c:pt idx="180">
                  <c:v>77</c:v>
                </c:pt>
                <c:pt idx="181">
                  <c:v>82</c:v>
                </c:pt>
                <c:pt idx="182">
                  <c:v>87</c:v>
                </c:pt>
                <c:pt idx="183">
                  <c:v>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215-49AF-9DEC-B2DA325881DF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4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G$244:$G$427</c:f>
              <c:numCache>
                <c:formatCode>General</c:formatCode>
                <c:ptCount val="184"/>
                <c:pt idx="153">
                  <c:v>14</c:v>
                </c:pt>
                <c:pt idx="154">
                  <c:v>15</c:v>
                </c:pt>
                <c:pt idx="155">
                  <c:v>16</c:v>
                </c:pt>
                <c:pt idx="156">
                  <c:v>17</c:v>
                </c:pt>
                <c:pt idx="157">
                  <c:v>18</c:v>
                </c:pt>
                <c:pt idx="158">
                  <c:v>19</c:v>
                </c:pt>
                <c:pt idx="159">
                  <c:v>21</c:v>
                </c:pt>
                <c:pt idx="160">
                  <c:v>22</c:v>
                </c:pt>
                <c:pt idx="161">
                  <c:v>23</c:v>
                </c:pt>
                <c:pt idx="162">
                  <c:v>25</c:v>
                </c:pt>
                <c:pt idx="163">
                  <c:v>26</c:v>
                </c:pt>
                <c:pt idx="164">
                  <c:v>30</c:v>
                </c:pt>
                <c:pt idx="165">
                  <c:v>33</c:v>
                </c:pt>
                <c:pt idx="166">
                  <c:v>36</c:v>
                </c:pt>
                <c:pt idx="167">
                  <c:v>39</c:v>
                </c:pt>
                <c:pt idx="168">
                  <c:v>42</c:v>
                </c:pt>
                <c:pt idx="169">
                  <c:v>46</c:v>
                </c:pt>
                <c:pt idx="170">
                  <c:v>50</c:v>
                </c:pt>
                <c:pt idx="171">
                  <c:v>55</c:v>
                </c:pt>
                <c:pt idx="172">
                  <c:v>60</c:v>
                </c:pt>
                <c:pt idx="173">
                  <c:v>65</c:v>
                </c:pt>
                <c:pt idx="174">
                  <c:v>71</c:v>
                </c:pt>
                <c:pt idx="175">
                  <c:v>78</c:v>
                </c:pt>
                <c:pt idx="176">
                  <c:v>85</c:v>
                </c:pt>
                <c:pt idx="177">
                  <c:v>93</c:v>
                </c:pt>
                <c:pt idx="178">
                  <c:v>101</c:v>
                </c:pt>
                <c:pt idx="179">
                  <c:v>110</c:v>
                </c:pt>
                <c:pt idx="180">
                  <c:v>120</c:v>
                </c:pt>
                <c:pt idx="181">
                  <c:v>131</c:v>
                </c:pt>
                <c:pt idx="182">
                  <c:v>143</c:v>
                </c:pt>
                <c:pt idx="183">
                  <c:v>1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215-49AF-9DEC-B2DA325881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5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3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H$122:$H$274</c:f>
              <c:numCache>
                <c:formatCode>0</c:formatCode>
                <c:ptCount val="15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B7-42F9-96E3-A51B38B8C2B0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I$122:$I$274</c:f>
              <c:numCache>
                <c:formatCode>0</c:formatCode>
                <c:ptCount val="153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CB7-42F9-96E3-A51B38B8C2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B$122:$B$274</c:f>
              <c:numCache>
                <c:formatCode>0</c:formatCode>
                <c:ptCount val="153"/>
                <c:pt idx="0">
                  <c:v>10.166974399195357</c:v>
                </c:pt>
                <c:pt idx="1">
                  <c:v>9.2592088278386289</c:v>
                </c:pt>
                <c:pt idx="2">
                  <c:v>9.0776557135672835</c:v>
                </c:pt>
                <c:pt idx="3">
                  <c:v>7.9883370279392087</c:v>
                </c:pt>
                <c:pt idx="4">
                  <c:v>8.169890142210555</c:v>
                </c:pt>
                <c:pt idx="5">
                  <c:v>7.6252307993965172</c:v>
                </c:pt>
                <c:pt idx="6">
                  <c:v>6.7174652280397895</c:v>
                </c:pt>
                <c:pt idx="7">
                  <c:v>5.6281465424117156</c:v>
                </c:pt>
                <c:pt idx="8">
                  <c:v>4.7203809710549871</c:v>
                </c:pt>
                <c:pt idx="9">
                  <c:v>3.4495091711555674</c:v>
                </c:pt>
                <c:pt idx="10">
                  <c:v>2.7232967140701847</c:v>
                </c:pt>
                <c:pt idx="11">
                  <c:v>2.9048498283415305</c:v>
                </c:pt>
                <c:pt idx="12">
                  <c:v>2.9048498283415305</c:v>
                </c:pt>
                <c:pt idx="13">
                  <c:v>3.4495091711555674</c:v>
                </c:pt>
                <c:pt idx="14">
                  <c:v>3.4495091711555674</c:v>
                </c:pt>
                <c:pt idx="15">
                  <c:v>3.0864029426128758</c:v>
                </c:pt>
                <c:pt idx="16">
                  <c:v>3.2679560568842216</c:v>
                </c:pt>
                <c:pt idx="17">
                  <c:v>3.0864029426128758</c:v>
                </c:pt>
                <c:pt idx="18">
                  <c:v>2.7232967140701847</c:v>
                </c:pt>
                <c:pt idx="19">
                  <c:v>2.7232967140701847</c:v>
                </c:pt>
                <c:pt idx="20">
                  <c:v>1.9970842569848022</c:v>
                </c:pt>
                <c:pt idx="21">
                  <c:v>1.2708717998994197</c:v>
                </c:pt>
                <c:pt idx="22">
                  <c:v>1.0893186856280739</c:v>
                </c:pt>
                <c:pt idx="23">
                  <c:v>0.72621245708538262</c:v>
                </c:pt>
                <c:pt idx="24">
                  <c:v>0.72621245708538262</c:v>
                </c:pt>
                <c:pt idx="25">
                  <c:v>0.72621245708538262</c:v>
                </c:pt>
                <c:pt idx="26">
                  <c:v>0.90776557135672831</c:v>
                </c:pt>
                <c:pt idx="27">
                  <c:v>1.2708717998994197</c:v>
                </c:pt>
                <c:pt idx="28">
                  <c:v>1.2708717998994197</c:v>
                </c:pt>
                <c:pt idx="29">
                  <c:v>1.2708717998994197</c:v>
                </c:pt>
                <c:pt idx="30">
                  <c:v>1.8155311427134566</c:v>
                </c:pt>
                <c:pt idx="31">
                  <c:v>1.8155311427134566</c:v>
                </c:pt>
                <c:pt idx="32">
                  <c:v>1.9970842569848022</c:v>
                </c:pt>
                <c:pt idx="33">
                  <c:v>1.9970842569848022</c:v>
                </c:pt>
                <c:pt idx="34">
                  <c:v>1.9970842569848022</c:v>
                </c:pt>
                <c:pt idx="35">
                  <c:v>2.5417435997988393</c:v>
                </c:pt>
                <c:pt idx="36">
                  <c:v>2.9048498283415305</c:v>
                </c:pt>
                <c:pt idx="37">
                  <c:v>4.7203809710549871</c:v>
                </c:pt>
                <c:pt idx="38">
                  <c:v>4.9019340853263325</c:v>
                </c:pt>
                <c:pt idx="39">
                  <c:v>5.0834871995976787</c:v>
                </c:pt>
                <c:pt idx="40">
                  <c:v>5.6281465424117156</c:v>
                </c:pt>
                <c:pt idx="41">
                  <c:v>5.6281465424117156</c:v>
                </c:pt>
                <c:pt idx="42">
                  <c:v>7.0805714565824802</c:v>
                </c:pt>
                <c:pt idx="43">
                  <c:v>7.6252307993965172</c:v>
                </c:pt>
                <c:pt idx="44">
                  <c:v>7.0805714565824802</c:v>
                </c:pt>
                <c:pt idx="45">
                  <c:v>7.0805714565824802</c:v>
                </c:pt>
                <c:pt idx="46">
                  <c:v>7.4436776851251718</c:v>
                </c:pt>
                <c:pt idx="47">
                  <c:v>7.0805714565824802</c:v>
                </c:pt>
                <c:pt idx="48">
                  <c:v>7.2621245708538265</c:v>
                </c:pt>
                <c:pt idx="49">
                  <c:v>6.7174652280397895</c:v>
                </c:pt>
                <c:pt idx="50">
                  <c:v>6.7174652280397895</c:v>
                </c:pt>
                <c:pt idx="51">
                  <c:v>5.809699656683061</c:v>
                </c:pt>
                <c:pt idx="52">
                  <c:v>5.4465934281403694</c:v>
                </c:pt>
                <c:pt idx="53">
                  <c:v>4.7203809710549871</c:v>
                </c:pt>
                <c:pt idx="54">
                  <c:v>4.5388278567836418</c:v>
                </c:pt>
                <c:pt idx="55">
                  <c:v>4.9019340853263325</c:v>
                </c:pt>
                <c:pt idx="56">
                  <c:v>4.9019340853263325</c:v>
                </c:pt>
                <c:pt idx="57">
                  <c:v>5.809699656683061</c:v>
                </c:pt>
                <c:pt idx="58">
                  <c:v>7.4436776851251718</c:v>
                </c:pt>
                <c:pt idx="59">
                  <c:v>8.5329963707532457</c:v>
                </c:pt>
                <c:pt idx="60">
                  <c:v>9.2592088278386289</c:v>
                </c:pt>
                <c:pt idx="61">
                  <c:v>10.348527513466703</c:v>
                </c:pt>
                <c:pt idx="62">
                  <c:v>10.348527513466703</c:v>
                </c:pt>
                <c:pt idx="63">
                  <c:v>9.985421284924012</c:v>
                </c:pt>
                <c:pt idx="64">
                  <c:v>10.893186856280739</c:v>
                </c:pt>
                <c:pt idx="65">
                  <c:v>9.0776557135672835</c:v>
                </c:pt>
                <c:pt idx="66">
                  <c:v>9.0776557135672835</c:v>
                </c:pt>
                <c:pt idx="67">
                  <c:v>8.714549485024591</c:v>
                </c:pt>
                <c:pt idx="68">
                  <c:v>7.9883370279392087</c:v>
                </c:pt>
                <c:pt idx="69">
                  <c:v>7.6252307993965172</c:v>
                </c:pt>
                <c:pt idx="70">
                  <c:v>7.0805714565824802</c:v>
                </c:pt>
                <c:pt idx="71">
                  <c:v>5.265040313869024</c:v>
                </c:pt>
                <c:pt idx="72">
                  <c:v>5.9912527709544063</c:v>
                </c:pt>
                <c:pt idx="73">
                  <c:v>5.9912527709544063</c:v>
                </c:pt>
                <c:pt idx="74">
                  <c:v>5.809699656683061</c:v>
                </c:pt>
                <c:pt idx="75">
                  <c:v>5.6281465424117156</c:v>
                </c:pt>
                <c:pt idx="76">
                  <c:v>6.5359121137684433</c:v>
                </c:pt>
                <c:pt idx="77">
                  <c:v>7.2621245708538265</c:v>
                </c:pt>
                <c:pt idx="78">
                  <c:v>7.8067839136678634</c:v>
                </c:pt>
                <c:pt idx="79">
                  <c:v>6.3543589994970979</c:v>
                </c:pt>
                <c:pt idx="80">
                  <c:v>5.6281465424117156</c:v>
                </c:pt>
                <c:pt idx="81">
                  <c:v>5.6281465424117156</c:v>
                </c:pt>
                <c:pt idx="82">
                  <c:v>5.809699656683061</c:v>
                </c:pt>
                <c:pt idx="83">
                  <c:v>5.0834871995976787</c:v>
                </c:pt>
                <c:pt idx="84">
                  <c:v>4.9019340853263325</c:v>
                </c:pt>
                <c:pt idx="85">
                  <c:v>4.1757216282409502</c:v>
                </c:pt>
                <c:pt idx="86">
                  <c:v>5.4465934281403694</c:v>
                </c:pt>
                <c:pt idx="87">
                  <c:v>5.0834871995976787</c:v>
                </c:pt>
                <c:pt idx="88">
                  <c:v>5.4465934281403694</c:v>
                </c:pt>
                <c:pt idx="89">
                  <c:v>4.9019340853263325</c:v>
                </c:pt>
                <c:pt idx="90">
                  <c:v>4.5388278567836418</c:v>
                </c:pt>
                <c:pt idx="91">
                  <c:v>4.7203809710549871</c:v>
                </c:pt>
                <c:pt idx="92">
                  <c:v>4.3572747425122955</c:v>
                </c:pt>
                <c:pt idx="93">
                  <c:v>4.9019340853263325</c:v>
                </c:pt>
                <c:pt idx="94">
                  <c:v>5.809699656683061</c:v>
                </c:pt>
                <c:pt idx="95">
                  <c:v>5.809699656683061</c:v>
                </c:pt>
                <c:pt idx="96">
                  <c:v>6.5359121137684433</c:v>
                </c:pt>
                <c:pt idx="97">
                  <c:v>7.8067839136678634</c:v>
                </c:pt>
                <c:pt idx="98">
                  <c:v>8.8961025992959382</c:v>
                </c:pt>
                <c:pt idx="99">
                  <c:v>12.345611770451503</c:v>
                </c:pt>
                <c:pt idx="100">
                  <c:v>13.071824227536887</c:v>
                </c:pt>
                <c:pt idx="101">
                  <c:v>14.524249141707653</c:v>
                </c:pt>
                <c:pt idx="102">
                  <c:v>15.250461598793034</c:v>
                </c:pt>
                <c:pt idx="103">
                  <c:v>15.795120941607072</c:v>
                </c:pt>
                <c:pt idx="104">
                  <c:v>16.33978028442111</c:v>
                </c:pt>
                <c:pt idx="105">
                  <c:v>16.158227170149765</c:v>
                </c:pt>
                <c:pt idx="106">
                  <c:v>14.705802255978998</c:v>
                </c:pt>
                <c:pt idx="107">
                  <c:v>13.79803668462227</c:v>
                </c:pt>
                <c:pt idx="108">
                  <c:v>13.79803668462227</c:v>
                </c:pt>
                <c:pt idx="109">
                  <c:v>13.79803668462227</c:v>
                </c:pt>
                <c:pt idx="110">
                  <c:v>12.708717998994196</c:v>
                </c:pt>
                <c:pt idx="111">
                  <c:v>11.256293084823431</c:v>
                </c:pt>
                <c:pt idx="112">
                  <c:v>11.074739970552086</c:v>
                </c:pt>
                <c:pt idx="113">
                  <c:v>11.074739970552086</c:v>
                </c:pt>
                <c:pt idx="114">
                  <c:v>10.711633742009393</c:v>
                </c:pt>
                <c:pt idx="115">
                  <c:v>8.8961025992959382</c:v>
                </c:pt>
                <c:pt idx="116">
                  <c:v>8.3514432564819003</c:v>
                </c:pt>
                <c:pt idx="117">
                  <c:v>8.8961025992959382</c:v>
                </c:pt>
                <c:pt idx="118">
                  <c:v>9.8038681706526649</c:v>
                </c:pt>
                <c:pt idx="119">
                  <c:v>9.2592088278386289</c:v>
                </c:pt>
                <c:pt idx="120">
                  <c:v>8.714549485024591</c:v>
                </c:pt>
                <c:pt idx="121">
                  <c:v>11.800952427637467</c:v>
                </c:pt>
                <c:pt idx="122">
                  <c:v>14.524249141707653</c:v>
                </c:pt>
                <c:pt idx="123">
                  <c:v>14.887355370250344</c:v>
                </c:pt>
                <c:pt idx="124">
                  <c:v>15.43201471306438</c:v>
                </c:pt>
                <c:pt idx="125">
                  <c:v>17.247545855777837</c:v>
                </c:pt>
                <c:pt idx="126">
                  <c:v>19.970842569848024</c:v>
                </c:pt>
                <c:pt idx="127">
                  <c:v>21.241714369747442</c:v>
                </c:pt>
                <c:pt idx="128">
                  <c:v>19.789289455576675</c:v>
                </c:pt>
                <c:pt idx="129">
                  <c:v>17.792205198591876</c:v>
                </c:pt>
                <c:pt idx="130">
                  <c:v>19.60773634130533</c:v>
                </c:pt>
                <c:pt idx="131">
                  <c:v>20.51550191266206</c:v>
                </c:pt>
                <c:pt idx="132">
                  <c:v>21.241714369747442</c:v>
                </c:pt>
                <c:pt idx="133">
                  <c:v>23.057245512460895</c:v>
                </c:pt>
                <c:pt idx="134">
                  <c:v>23.601904855274935</c:v>
                </c:pt>
                <c:pt idx="135">
                  <c:v>24.691223540903007</c:v>
                </c:pt>
                <c:pt idx="136">
                  <c:v>27.95917959778723</c:v>
                </c:pt>
                <c:pt idx="137">
                  <c:v>26.143648455073773</c:v>
                </c:pt>
                <c:pt idx="138">
                  <c:v>27.051414026430503</c:v>
                </c:pt>
                <c:pt idx="139">
                  <c:v>29.956263854772029</c:v>
                </c:pt>
                <c:pt idx="140">
                  <c:v>33.405773025927601</c:v>
                </c:pt>
                <c:pt idx="141">
                  <c:v>39.21547268261066</c:v>
                </c:pt>
                <c:pt idx="142">
                  <c:v>53.19506248150428</c:v>
                </c:pt>
                <c:pt idx="143">
                  <c:v>60.820293280900792</c:v>
                </c:pt>
                <c:pt idx="144">
                  <c:v>67.900864737483275</c:v>
                </c:pt>
                <c:pt idx="145">
                  <c:v>77.704732908135938</c:v>
                </c:pt>
                <c:pt idx="146">
                  <c:v>88.961025992959364</c:v>
                </c:pt>
                <c:pt idx="147">
                  <c:v>98.7648941636120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B7-42F9-96E3-A51B38B8C2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C$122:$C$274</c:f>
              <c:numCache>
                <c:formatCode>General</c:formatCode>
                <c:ptCount val="15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CB7-42F9-96E3-A51B38B8C2B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1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D$122:$D$274</c:f>
              <c:numCache>
                <c:formatCode>General</c:formatCode>
                <c:ptCount val="153"/>
                <c:pt idx="122">
                  <c:v>11.800952427637467</c:v>
                </c:pt>
                <c:pt idx="123">
                  <c:v>12.345611770451503</c:v>
                </c:pt>
                <c:pt idx="124">
                  <c:v>12.708717998994196</c:v>
                </c:pt>
                <c:pt idx="125">
                  <c:v>13.253377341808232</c:v>
                </c:pt>
                <c:pt idx="126">
                  <c:v>13.79803668462227</c:v>
                </c:pt>
                <c:pt idx="127">
                  <c:v>14.342696027436306</c:v>
                </c:pt>
                <c:pt idx="128">
                  <c:v>14.887355370250344</c:v>
                </c:pt>
                <c:pt idx="129">
                  <c:v>15.613567827335727</c:v>
                </c:pt>
                <c:pt idx="130">
                  <c:v>16.158227170149765</c:v>
                </c:pt>
                <c:pt idx="131">
                  <c:v>16.884439627235146</c:v>
                </c:pt>
                <c:pt idx="132">
                  <c:v>17.429098970049182</c:v>
                </c:pt>
                <c:pt idx="133">
                  <c:v>18.155311427134567</c:v>
                </c:pt>
                <c:pt idx="134">
                  <c:v>18.6999707699486</c:v>
                </c:pt>
                <c:pt idx="135">
                  <c:v>19.426183227033984</c:v>
                </c:pt>
                <c:pt idx="136">
                  <c:v>20.152395684119369</c:v>
                </c:pt>
                <c:pt idx="137">
                  <c:v>20.878608141204747</c:v>
                </c:pt>
                <c:pt idx="138">
                  <c:v>21.604820598290132</c:v>
                </c:pt>
                <c:pt idx="139">
                  <c:v>22.512586169646863</c:v>
                </c:pt>
                <c:pt idx="140">
                  <c:v>23.238798626732244</c:v>
                </c:pt>
                <c:pt idx="141">
                  <c:v>24.146564198088971</c:v>
                </c:pt>
                <c:pt idx="142">
                  <c:v>25.054329769445701</c:v>
                </c:pt>
                <c:pt idx="143">
                  <c:v>25.780542226531082</c:v>
                </c:pt>
                <c:pt idx="144">
                  <c:v>26.688307797887813</c:v>
                </c:pt>
                <c:pt idx="145">
                  <c:v>27.596073369244539</c:v>
                </c:pt>
                <c:pt idx="146">
                  <c:v>28.50383894060127</c:v>
                </c:pt>
                <c:pt idx="147">
                  <c:v>29.593157626229338</c:v>
                </c:pt>
                <c:pt idx="148">
                  <c:v>30.682476311857418</c:v>
                </c:pt>
                <c:pt idx="149">
                  <c:v>31.771794997485486</c:v>
                </c:pt>
                <c:pt idx="150">
                  <c:v>33.042666797384904</c:v>
                </c:pt>
                <c:pt idx="151">
                  <c:v>34.313538597284328</c:v>
                </c:pt>
                <c:pt idx="152">
                  <c:v>35.5844103971837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CB7-42F9-96E3-A51B38B8C2B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E$122:$E$274</c:f>
              <c:numCache>
                <c:formatCode>General</c:formatCode>
                <c:ptCount val="153"/>
                <c:pt idx="122">
                  <c:v>11.982505541908813</c:v>
                </c:pt>
                <c:pt idx="123">
                  <c:v>12.708717998994196</c:v>
                </c:pt>
                <c:pt idx="124">
                  <c:v>13.253377341808232</c:v>
                </c:pt>
                <c:pt idx="125">
                  <c:v>13.979589798893615</c:v>
                </c:pt>
                <c:pt idx="126">
                  <c:v>14.705802255978998</c:v>
                </c:pt>
                <c:pt idx="127">
                  <c:v>15.43201471306438</c:v>
                </c:pt>
                <c:pt idx="128">
                  <c:v>16.33978028442111</c:v>
                </c:pt>
                <c:pt idx="129">
                  <c:v>17.247545855777837</c:v>
                </c:pt>
                <c:pt idx="130">
                  <c:v>17.973758312863222</c:v>
                </c:pt>
                <c:pt idx="131">
                  <c:v>18.881523884219948</c:v>
                </c:pt>
                <c:pt idx="132">
                  <c:v>19.789289455576675</c:v>
                </c:pt>
                <c:pt idx="133">
                  <c:v>20.878608141204747</c:v>
                </c:pt>
                <c:pt idx="134">
                  <c:v>21.967926826832823</c:v>
                </c:pt>
                <c:pt idx="135">
                  <c:v>23.057245512460895</c:v>
                </c:pt>
                <c:pt idx="136">
                  <c:v>24.146564198088971</c:v>
                </c:pt>
                <c:pt idx="137">
                  <c:v>25.417435997988392</c:v>
                </c:pt>
                <c:pt idx="138">
                  <c:v>26.688307797887813</c:v>
                </c:pt>
                <c:pt idx="139">
                  <c:v>28.140732712058579</c:v>
                </c:pt>
                <c:pt idx="140">
                  <c:v>29.593157626229338</c:v>
                </c:pt>
                <c:pt idx="141">
                  <c:v>31.045582540400108</c:v>
                </c:pt>
                <c:pt idx="142">
                  <c:v>32.67956056884222</c:v>
                </c:pt>
                <c:pt idx="143">
                  <c:v>34.313538597284328</c:v>
                </c:pt>
                <c:pt idx="144">
                  <c:v>36.129069739997782</c:v>
                </c:pt>
                <c:pt idx="145">
                  <c:v>37.944600882711242</c:v>
                </c:pt>
                <c:pt idx="146">
                  <c:v>39.760132025424696</c:v>
                </c:pt>
                <c:pt idx="147">
                  <c:v>41.757216282409495</c:v>
                </c:pt>
                <c:pt idx="148">
                  <c:v>43.935853653665646</c:v>
                </c:pt>
                <c:pt idx="149">
                  <c:v>46.11449102492179</c:v>
                </c:pt>
                <c:pt idx="150">
                  <c:v>48.474681510449287</c:v>
                </c:pt>
                <c:pt idx="151">
                  <c:v>50.834871995976783</c:v>
                </c:pt>
                <c:pt idx="152">
                  <c:v>53.5581687100469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CB7-42F9-96E3-A51B38B8C2B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F$122:$F$274</c:f>
              <c:numCache>
                <c:formatCode>General</c:formatCode>
                <c:ptCount val="153"/>
                <c:pt idx="122">
                  <c:v>11.982505541908813</c:v>
                </c:pt>
                <c:pt idx="123">
                  <c:v>12.708717998994196</c:v>
                </c:pt>
                <c:pt idx="124">
                  <c:v>13.434930456079579</c:v>
                </c:pt>
                <c:pt idx="125">
                  <c:v>14.16114291316496</c:v>
                </c:pt>
                <c:pt idx="126">
                  <c:v>15.068908484521689</c:v>
                </c:pt>
                <c:pt idx="127">
                  <c:v>15.976674055878417</c:v>
                </c:pt>
                <c:pt idx="128">
                  <c:v>17.065992741506491</c:v>
                </c:pt>
                <c:pt idx="129">
                  <c:v>18.336864541405912</c:v>
                </c:pt>
                <c:pt idx="130">
                  <c:v>19.60773634130533</c:v>
                </c:pt>
                <c:pt idx="131">
                  <c:v>20.878608141204747</c:v>
                </c:pt>
                <c:pt idx="132">
                  <c:v>22.331033055375517</c:v>
                </c:pt>
                <c:pt idx="133">
                  <c:v>23.965011083817625</c:v>
                </c:pt>
                <c:pt idx="134">
                  <c:v>25.598989112259734</c:v>
                </c:pt>
                <c:pt idx="135">
                  <c:v>27.414520254973191</c:v>
                </c:pt>
                <c:pt idx="136">
                  <c:v>29.048498283415306</c:v>
                </c:pt>
                <c:pt idx="137">
                  <c:v>30.864029426128759</c:v>
                </c:pt>
                <c:pt idx="138">
                  <c:v>32.861113683113565</c:v>
                </c:pt>
                <c:pt idx="139">
                  <c:v>35.039751054369709</c:v>
                </c:pt>
                <c:pt idx="140">
                  <c:v>37.218388425625861</c:v>
                </c:pt>
                <c:pt idx="141">
                  <c:v>39.57857891115335</c:v>
                </c:pt>
                <c:pt idx="142">
                  <c:v>42.120322510952192</c:v>
                </c:pt>
                <c:pt idx="143">
                  <c:v>44.843619225022373</c:v>
                </c:pt>
                <c:pt idx="144">
                  <c:v>47.748469053363905</c:v>
                </c:pt>
                <c:pt idx="145">
                  <c:v>50.834871995976783</c:v>
                </c:pt>
                <c:pt idx="146">
                  <c:v>54.102828052861007</c:v>
                </c:pt>
                <c:pt idx="147">
                  <c:v>57.733890338287921</c:v>
                </c:pt>
                <c:pt idx="148">
                  <c:v>61.546505737986173</c:v>
                </c:pt>
                <c:pt idx="149">
                  <c:v>65.540674251955792</c:v>
                </c:pt>
                <c:pt idx="150">
                  <c:v>69.897948994468081</c:v>
                </c:pt>
                <c:pt idx="151">
                  <c:v>74.436776851251722</c:v>
                </c:pt>
                <c:pt idx="152">
                  <c:v>79.1571578223067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CB7-42F9-96E3-A51B38B8C2B0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4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G$122:$G$274</c:f>
              <c:numCache>
                <c:formatCode>General</c:formatCode>
                <c:ptCount val="153"/>
                <c:pt idx="122">
                  <c:v>11.982505541908813</c:v>
                </c:pt>
                <c:pt idx="123">
                  <c:v>12.708717998994196</c:v>
                </c:pt>
                <c:pt idx="124">
                  <c:v>13.434930456079579</c:v>
                </c:pt>
                <c:pt idx="125">
                  <c:v>14.16114291316496</c:v>
                </c:pt>
                <c:pt idx="126">
                  <c:v>15.068908484521689</c:v>
                </c:pt>
                <c:pt idx="127">
                  <c:v>15.976674055878417</c:v>
                </c:pt>
                <c:pt idx="128">
                  <c:v>17.065992741506491</c:v>
                </c:pt>
                <c:pt idx="129">
                  <c:v>18.336864541405912</c:v>
                </c:pt>
                <c:pt idx="130">
                  <c:v>19.60773634130533</c:v>
                </c:pt>
                <c:pt idx="131">
                  <c:v>20.878608141204747</c:v>
                </c:pt>
                <c:pt idx="132">
                  <c:v>22.331033055375517</c:v>
                </c:pt>
                <c:pt idx="133">
                  <c:v>24.146564198088971</c:v>
                </c:pt>
                <c:pt idx="134">
                  <c:v>26.325201569345122</c:v>
                </c:pt>
                <c:pt idx="135">
                  <c:v>28.685392054872612</c:v>
                </c:pt>
                <c:pt idx="136">
                  <c:v>31.045582540400108</c:v>
                </c:pt>
                <c:pt idx="137">
                  <c:v>33.768879254470292</c:v>
                </c:pt>
                <c:pt idx="138">
                  <c:v>36.85528219708317</c:v>
                </c:pt>
                <c:pt idx="139">
                  <c:v>40.304791368238739</c:v>
                </c:pt>
                <c:pt idx="140">
                  <c:v>43.935853653665646</c:v>
                </c:pt>
                <c:pt idx="141">
                  <c:v>47.748469053363905</c:v>
                </c:pt>
                <c:pt idx="142">
                  <c:v>51.924190681604863</c:v>
                </c:pt>
                <c:pt idx="143">
                  <c:v>56.644571652659842</c:v>
                </c:pt>
                <c:pt idx="144">
                  <c:v>61.728058852257519</c:v>
                </c:pt>
                <c:pt idx="145">
                  <c:v>67.356205394669232</c:v>
                </c:pt>
                <c:pt idx="146">
                  <c:v>73.529011279894988</c:v>
                </c:pt>
                <c:pt idx="147">
                  <c:v>80.246476507934773</c:v>
                </c:pt>
                <c:pt idx="148">
                  <c:v>87.508601078788601</c:v>
                </c:pt>
                <c:pt idx="149">
                  <c:v>95.496938106727811</c:v>
                </c:pt>
                <c:pt idx="150">
                  <c:v>104.2114875917524</c:v>
                </c:pt>
                <c:pt idx="151">
                  <c:v>113.83380264813373</c:v>
                </c:pt>
                <c:pt idx="152">
                  <c:v>124.182330161600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ACB7-42F9-96E3-A51B38B8C2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B$244:$B$427</c:f>
              <c:numCache>
                <c:formatCode>0</c:formatCode>
                <c:ptCount val="184"/>
                <c:pt idx="0">
                  <c:v>20</c:v>
                </c:pt>
                <c:pt idx="1">
                  <c:v>17</c:v>
                </c:pt>
                <c:pt idx="2">
                  <c:v>139</c:v>
                </c:pt>
                <c:pt idx="3">
                  <c:v>66</c:v>
                </c:pt>
                <c:pt idx="4">
                  <c:v>91</c:v>
                </c:pt>
                <c:pt idx="5">
                  <c:v>51</c:v>
                </c:pt>
                <c:pt idx="6">
                  <c:v>50</c:v>
                </c:pt>
                <c:pt idx="7">
                  <c:v>19</c:v>
                </c:pt>
                <c:pt idx="8">
                  <c:v>17</c:v>
                </c:pt>
                <c:pt idx="9">
                  <c:v>61</c:v>
                </c:pt>
                <c:pt idx="10">
                  <c:v>71</c:v>
                </c:pt>
                <c:pt idx="11">
                  <c:v>50</c:v>
                </c:pt>
                <c:pt idx="12">
                  <c:v>44</c:v>
                </c:pt>
                <c:pt idx="13">
                  <c:v>43</c:v>
                </c:pt>
                <c:pt idx="14">
                  <c:v>0</c:v>
                </c:pt>
                <c:pt idx="15">
                  <c:v>11</c:v>
                </c:pt>
                <c:pt idx="16">
                  <c:v>44</c:v>
                </c:pt>
                <c:pt idx="17">
                  <c:v>50</c:v>
                </c:pt>
                <c:pt idx="18">
                  <c:v>23</c:v>
                </c:pt>
                <c:pt idx="19">
                  <c:v>19</c:v>
                </c:pt>
                <c:pt idx="20">
                  <c:v>25</c:v>
                </c:pt>
                <c:pt idx="21">
                  <c:v>3</c:v>
                </c:pt>
                <c:pt idx="22">
                  <c:v>2</c:v>
                </c:pt>
                <c:pt idx="23">
                  <c:v>23</c:v>
                </c:pt>
                <c:pt idx="24">
                  <c:v>27</c:v>
                </c:pt>
                <c:pt idx="25">
                  <c:v>10</c:v>
                </c:pt>
                <c:pt idx="26">
                  <c:v>11</c:v>
                </c:pt>
                <c:pt idx="27">
                  <c:v>9</c:v>
                </c:pt>
                <c:pt idx="28">
                  <c:v>6</c:v>
                </c:pt>
                <c:pt idx="29">
                  <c:v>4</c:v>
                </c:pt>
                <c:pt idx="30">
                  <c:v>29</c:v>
                </c:pt>
                <c:pt idx="31">
                  <c:v>11</c:v>
                </c:pt>
                <c:pt idx="32">
                  <c:v>12</c:v>
                </c:pt>
                <c:pt idx="33">
                  <c:v>15</c:v>
                </c:pt>
                <c:pt idx="34">
                  <c:v>17</c:v>
                </c:pt>
                <c:pt idx="35">
                  <c:v>1</c:v>
                </c:pt>
                <c:pt idx="36">
                  <c:v>4</c:v>
                </c:pt>
                <c:pt idx="37">
                  <c:v>12</c:v>
                </c:pt>
                <c:pt idx="38">
                  <c:v>16</c:v>
                </c:pt>
                <c:pt idx="39">
                  <c:v>7</c:v>
                </c:pt>
                <c:pt idx="40">
                  <c:v>0</c:v>
                </c:pt>
                <c:pt idx="41">
                  <c:v>3</c:v>
                </c:pt>
                <c:pt idx="42">
                  <c:v>4</c:v>
                </c:pt>
                <c:pt idx="43">
                  <c:v>0</c:v>
                </c:pt>
                <c:pt idx="44">
                  <c:v>7</c:v>
                </c:pt>
                <c:pt idx="45">
                  <c:v>6</c:v>
                </c:pt>
                <c:pt idx="46">
                  <c:v>3</c:v>
                </c:pt>
                <c:pt idx="47">
                  <c:v>2</c:v>
                </c:pt>
                <c:pt idx="48">
                  <c:v>5</c:v>
                </c:pt>
                <c:pt idx="49">
                  <c:v>1</c:v>
                </c:pt>
                <c:pt idx="50">
                  <c:v>2</c:v>
                </c:pt>
                <c:pt idx="51">
                  <c:v>7</c:v>
                </c:pt>
                <c:pt idx="52">
                  <c:v>1</c:v>
                </c:pt>
                <c:pt idx="53">
                  <c:v>11</c:v>
                </c:pt>
                <c:pt idx="54">
                  <c:v>4</c:v>
                </c:pt>
                <c:pt idx="55">
                  <c:v>5</c:v>
                </c:pt>
                <c:pt idx="56">
                  <c:v>2</c:v>
                </c:pt>
                <c:pt idx="57">
                  <c:v>2</c:v>
                </c:pt>
                <c:pt idx="58">
                  <c:v>5</c:v>
                </c:pt>
                <c:pt idx="59">
                  <c:v>3</c:v>
                </c:pt>
                <c:pt idx="60">
                  <c:v>4</c:v>
                </c:pt>
                <c:pt idx="61">
                  <c:v>5</c:v>
                </c:pt>
                <c:pt idx="62">
                  <c:v>2</c:v>
                </c:pt>
                <c:pt idx="63">
                  <c:v>2</c:v>
                </c:pt>
                <c:pt idx="64">
                  <c:v>4</c:v>
                </c:pt>
                <c:pt idx="65">
                  <c:v>4</c:v>
                </c:pt>
                <c:pt idx="66">
                  <c:v>2</c:v>
                </c:pt>
                <c:pt idx="67">
                  <c:v>3</c:v>
                </c:pt>
                <c:pt idx="68">
                  <c:v>7</c:v>
                </c:pt>
                <c:pt idx="69">
                  <c:v>14</c:v>
                </c:pt>
                <c:pt idx="70">
                  <c:v>11</c:v>
                </c:pt>
                <c:pt idx="71">
                  <c:v>11</c:v>
                </c:pt>
                <c:pt idx="72">
                  <c:v>15</c:v>
                </c:pt>
                <c:pt idx="73">
                  <c:v>19</c:v>
                </c:pt>
                <c:pt idx="74">
                  <c:v>9</c:v>
                </c:pt>
                <c:pt idx="75">
                  <c:v>11</c:v>
                </c:pt>
                <c:pt idx="76">
                  <c:v>8</c:v>
                </c:pt>
                <c:pt idx="77">
                  <c:v>3</c:v>
                </c:pt>
                <c:pt idx="78">
                  <c:v>1</c:v>
                </c:pt>
                <c:pt idx="79">
                  <c:v>10</c:v>
                </c:pt>
                <c:pt idx="80">
                  <c:v>8</c:v>
                </c:pt>
                <c:pt idx="81">
                  <c:v>3</c:v>
                </c:pt>
                <c:pt idx="82">
                  <c:v>6</c:v>
                </c:pt>
                <c:pt idx="83">
                  <c:v>4</c:v>
                </c:pt>
                <c:pt idx="84">
                  <c:v>1</c:v>
                </c:pt>
                <c:pt idx="85">
                  <c:v>8</c:v>
                </c:pt>
                <c:pt idx="86">
                  <c:v>7</c:v>
                </c:pt>
                <c:pt idx="87">
                  <c:v>14</c:v>
                </c:pt>
                <c:pt idx="88">
                  <c:v>11</c:v>
                </c:pt>
                <c:pt idx="89">
                  <c:v>15</c:v>
                </c:pt>
                <c:pt idx="90">
                  <c:v>5</c:v>
                </c:pt>
                <c:pt idx="91">
                  <c:v>7</c:v>
                </c:pt>
                <c:pt idx="92">
                  <c:v>11</c:v>
                </c:pt>
                <c:pt idx="93">
                  <c:v>6</c:v>
                </c:pt>
                <c:pt idx="94">
                  <c:v>13</c:v>
                </c:pt>
                <c:pt idx="95">
                  <c:v>9</c:v>
                </c:pt>
                <c:pt idx="96">
                  <c:v>5</c:v>
                </c:pt>
                <c:pt idx="97">
                  <c:v>6</c:v>
                </c:pt>
                <c:pt idx="98">
                  <c:v>3</c:v>
                </c:pt>
                <c:pt idx="99">
                  <c:v>4</c:v>
                </c:pt>
                <c:pt idx="100">
                  <c:v>11</c:v>
                </c:pt>
                <c:pt idx="101">
                  <c:v>6</c:v>
                </c:pt>
                <c:pt idx="102">
                  <c:v>5</c:v>
                </c:pt>
                <c:pt idx="103">
                  <c:v>5</c:v>
                </c:pt>
                <c:pt idx="104">
                  <c:v>3</c:v>
                </c:pt>
                <c:pt idx="105">
                  <c:v>1</c:v>
                </c:pt>
                <c:pt idx="106">
                  <c:v>1</c:v>
                </c:pt>
                <c:pt idx="107">
                  <c:v>8</c:v>
                </c:pt>
                <c:pt idx="108">
                  <c:v>5</c:v>
                </c:pt>
                <c:pt idx="109">
                  <c:v>9</c:v>
                </c:pt>
                <c:pt idx="110">
                  <c:v>3</c:v>
                </c:pt>
                <c:pt idx="111">
                  <c:v>1</c:v>
                </c:pt>
                <c:pt idx="112">
                  <c:v>5</c:v>
                </c:pt>
                <c:pt idx="113">
                  <c:v>2</c:v>
                </c:pt>
                <c:pt idx="114">
                  <c:v>3</c:v>
                </c:pt>
                <c:pt idx="115">
                  <c:v>8</c:v>
                </c:pt>
                <c:pt idx="116">
                  <c:v>9</c:v>
                </c:pt>
                <c:pt idx="117">
                  <c:v>4</c:v>
                </c:pt>
                <c:pt idx="118">
                  <c:v>2</c:v>
                </c:pt>
                <c:pt idx="119">
                  <c:v>2</c:v>
                </c:pt>
                <c:pt idx="120">
                  <c:v>4</c:v>
                </c:pt>
                <c:pt idx="121">
                  <c:v>5</c:v>
                </c:pt>
                <c:pt idx="122">
                  <c:v>9</c:v>
                </c:pt>
                <c:pt idx="123">
                  <c:v>7</c:v>
                </c:pt>
                <c:pt idx="124">
                  <c:v>18</c:v>
                </c:pt>
                <c:pt idx="125">
                  <c:v>8</c:v>
                </c:pt>
                <c:pt idx="126">
                  <c:v>12</c:v>
                </c:pt>
                <c:pt idx="127">
                  <c:v>5</c:v>
                </c:pt>
                <c:pt idx="128">
                  <c:v>14</c:v>
                </c:pt>
                <c:pt idx="129">
                  <c:v>30</c:v>
                </c:pt>
                <c:pt idx="130">
                  <c:v>13</c:v>
                </c:pt>
                <c:pt idx="131">
                  <c:v>23</c:v>
                </c:pt>
                <c:pt idx="132">
                  <c:v>24</c:v>
                </c:pt>
                <c:pt idx="133">
                  <c:v>16</c:v>
                </c:pt>
                <c:pt idx="134">
                  <c:v>7</c:v>
                </c:pt>
                <c:pt idx="135">
                  <c:v>17</c:v>
                </c:pt>
                <c:pt idx="136">
                  <c:v>24</c:v>
                </c:pt>
                <c:pt idx="137">
                  <c:v>21</c:v>
                </c:pt>
                <c:pt idx="138">
                  <c:v>20</c:v>
                </c:pt>
                <c:pt idx="139">
                  <c:v>13</c:v>
                </c:pt>
                <c:pt idx="140">
                  <c:v>16</c:v>
                </c:pt>
                <c:pt idx="141">
                  <c:v>6</c:v>
                </c:pt>
                <c:pt idx="142">
                  <c:v>22</c:v>
                </c:pt>
                <c:pt idx="143">
                  <c:v>29</c:v>
                </c:pt>
                <c:pt idx="144">
                  <c:v>22</c:v>
                </c:pt>
                <c:pt idx="145">
                  <c:v>11</c:v>
                </c:pt>
                <c:pt idx="146">
                  <c:v>14</c:v>
                </c:pt>
                <c:pt idx="147">
                  <c:v>9</c:v>
                </c:pt>
                <c:pt idx="148">
                  <c:v>5</c:v>
                </c:pt>
                <c:pt idx="149">
                  <c:v>14</c:v>
                </c:pt>
                <c:pt idx="150">
                  <c:v>27</c:v>
                </c:pt>
                <c:pt idx="151">
                  <c:v>26</c:v>
                </c:pt>
                <c:pt idx="152">
                  <c:v>18</c:v>
                </c:pt>
                <c:pt idx="153">
                  <c:v>18</c:v>
                </c:pt>
                <c:pt idx="154">
                  <c:v>11</c:v>
                </c:pt>
                <c:pt idx="155">
                  <c:v>21</c:v>
                </c:pt>
                <c:pt idx="156">
                  <c:v>24</c:v>
                </c:pt>
                <c:pt idx="157">
                  <c:v>38</c:v>
                </c:pt>
                <c:pt idx="158">
                  <c:v>26</c:v>
                </c:pt>
                <c:pt idx="159">
                  <c:v>31</c:v>
                </c:pt>
                <c:pt idx="160">
                  <c:v>23</c:v>
                </c:pt>
                <c:pt idx="161">
                  <c:v>34</c:v>
                </c:pt>
                <c:pt idx="162">
                  <c:v>24</c:v>
                </c:pt>
                <c:pt idx="163">
                  <c:v>35</c:v>
                </c:pt>
                <c:pt idx="164">
                  <c:v>45</c:v>
                </c:pt>
                <c:pt idx="165">
                  <c:v>55</c:v>
                </c:pt>
                <c:pt idx="166">
                  <c:v>60</c:v>
                </c:pt>
                <c:pt idx="167">
                  <c:v>57</c:v>
                </c:pt>
                <c:pt idx="168">
                  <c:v>43</c:v>
                </c:pt>
                <c:pt idx="169">
                  <c:v>30</c:v>
                </c:pt>
                <c:pt idx="170">
                  <c:v>99</c:v>
                </c:pt>
                <c:pt idx="171">
                  <c:v>145</c:v>
                </c:pt>
                <c:pt idx="172">
                  <c:v>111</c:v>
                </c:pt>
                <c:pt idx="173">
                  <c:v>113</c:v>
                </c:pt>
                <c:pt idx="174">
                  <c:v>137</c:v>
                </c:pt>
                <c:pt idx="175">
                  <c:v>66</c:v>
                </c:pt>
                <c:pt idx="176">
                  <c:v>94</c:v>
                </c:pt>
                <c:pt idx="177">
                  <c:v>190</c:v>
                </c:pt>
                <c:pt idx="178">
                  <c:v>2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C1-4E02-9EA0-D010686661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C$244:$C$427</c:f>
              <c:numCache>
                <c:formatCode>General</c:formatCode>
                <c:ptCount val="18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0C1-4E02-9EA0-D010686661C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D$244:$D$427</c:f>
              <c:numCache>
                <c:formatCode>General</c:formatCode>
                <c:ptCount val="184"/>
                <c:pt idx="73">
                  <c:v>0</c:v>
                </c:pt>
                <c:pt idx="153">
                  <c:v>23</c:v>
                </c:pt>
                <c:pt idx="154">
                  <c:v>24</c:v>
                </c:pt>
                <c:pt idx="155">
                  <c:v>25</c:v>
                </c:pt>
                <c:pt idx="156">
                  <c:v>25</c:v>
                </c:pt>
                <c:pt idx="157">
                  <c:v>26</c:v>
                </c:pt>
                <c:pt idx="158">
                  <c:v>27</c:v>
                </c:pt>
                <c:pt idx="159">
                  <c:v>28</c:v>
                </c:pt>
                <c:pt idx="160">
                  <c:v>30</c:v>
                </c:pt>
                <c:pt idx="161">
                  <c:v>31</c:v>
                </c:pt>
                <c:pt idx="162">
                  <c:v>32</c:v>
                </c:pt>
                <c:pt idx="163">
                  <c:v>33</c:v>
                </c:pt>
                <c:pt idx="164">
                  <c:v>34</c:v>
                </c:pt>
                <c:pt idx="165">
                  <c:v>35</c:v>
                </c:pt>
                <c:pt idx="166">
                  <c:v>37</c:v>
                </c:pt>
                <c:pt idx="167">
                  <c:v>38</c:v>
                </c:pt>
                <c:pt idx="168">
                  <c:v>39</c:v>
                </c:pt>
                <c:pt idx="169">
                  <c:v>41</c:v>
                </c:pt>
                <c:pt idx="170">
                  <c:v>42</c:v>
                </c:pt>
                <c:pt idx="171">
                  <c:v>44</c:v>
                </c:pt>
                <c:pt idx="172">
                  <c:v>45</c:v>
                </c:pt>
                <c:pt idx="173">
                  <c:v>47</c:v>
                </c:pt>
                <c:pt idx="174">
                  <c:v>49</c:v>
                </c:pt>
                <c:pt idx="175">
                  <c:v>51</c:v>
                </c:pt>
                <c:pt idx="176">
                  <c:v>52</c:v>
                </c:pt>
                <c:pt idx="177">
                  <c:v>54</c:v>
                </c:pt>
                <c:pt idx="178">
                  <c:v>56</c:v>
                </c:pt>
                <c:pt idx="179">
                  <c:v>58</c:v>
                </c:pt>
                <c:pt idx="180">
                  <c:v>60</c:v>
                </c:pt>
                <c:pt idx="181">
                  <c:v>62</c:v>
                </c:pt>
                <c:pt idx="182">
                  <c:v>65</c:v>
                </c:pt>
                <c:pt idx="183">
                  <c:v>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0C1-4E02-9EA0-D010686661C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E$244:$E$427</c:f>
              <c:numCache>
                <c:formatCode>General</c:formatCode>
                <c:ptCount val="184"/>
                <c:pt idx="153">
                  <c:v>24</c:v>
                </c:pt>
                <c:pt idx="154">
                  <c:v>25</c:v>
                </c:pt>
                <c:pt idx="155">
                  <c:v>26</c:v>
                </c:pt>
                <c:pt idx="156">
                  <c:v>27</c:v>
                </c:pt>
                <c:pt idx="157">
                  <c:v>29</c:v>
                </c:pt>
                <c:pt idx="158">
                  <c:v>30</c:v>
                </c:pt>
                <c:pt idx="159">
                  <c:v>32</c:v>
                </c:pt>
                <c:pt idx="160">
                  <c:v>34</c:v>
                </c:pt>
                <c:pt idx="161">
                  <c:v>35</c:v>
                </c:pt>
                <c:pt idx="162">
                  <c:v>37</c:v>
                </c:pt>
                <c:pt idx="163">
                  <c:v>39</c:v>
                </c:pt>
                <c:pt idx="164">
                  <c:v>41</c:v>
                </c:pt>
                <c:pt idx="165">
                  <c:v>43</c:v>
                </c:pt>
                <c:pt idx="166">
                  <c:v>46</c:v>
                </c:pt>
                <c:pt idx="167">
                  <c:v>48</c:v>
                </c:pt>
                <c:pt idx="168">
                  <c:v>50</c:v>
                </c:pt>
                <c:pt idx="169">
                  <c:v>53</c:v>
                </c:pt>
                <c:pt idx="170">
                  <c:v>56</c:v>
                </c:pt>
                <c:pt idx="171">
                  <c:v>58</c:v>
                </c:pt>
                <c:pt idx="172">
                  <c:v>61</c:v>
                </c:pt>
                <c:pt idx="173">
                  <c:v>64</c:v>
                </c:pt>
                <c:pt idx="174">
                  <c:v>68</c:v>
                </c:pt>
                <c:pt idx="175">
                  <c:v>71</c:v>
                </c:pt>
                <c:pt idx="176">
                  <c:v>75</c:v>
                </c:pt>
                <c:pt idx="177">
                  <c:v>79</c:v>
                </c:pt>
                <c:pt idx="178">
                  <c:v>83</c:v>
                </c:pt>
                <c:pt idx="179">
                  <c:v>87</c:v>
                </c:pt>
                <c:pt idx="180">
                  <c:v>91</c:v>
                </c:pt>
                <c:pt idx="181">
                  <c:v>96</c:v>
                </c:pt>
                <c:pt idx="182">
                  <c:v>100</c:v>
                </c:pt>
                <c:pt idx="183">
                  <c:v>1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0C1-4E02-9EA0-D010686661C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F$244:$F$427</c:f>
              <c:numCache>
                <c:formatCode>General</c:formatCode>
                <c:ptCount val="184"/>
                <c:pt idx="153">
                  <c:v>24</c:v>
                </c:pt>
                <c:pt idx="154">
                  <c:v>26</c:v>
                </c:pt>
                <c:pt idx="155">
                  <c:v>28</c:v>
                </c:pt>
                <c:pt idx="156">
                  <c:v>29</c:v>
                </c:pt>
                <c:pt idx="157">
                  <c:v>31</c:v>
                </c:pt>
                <c:pt idx="158">
                  <c:v>33</c:v>
                </c:pt>
                <c:pt idx="159">
                  <c:v>36</c:v>
                </c:pt>
                <c:pt idx="160">
                  <c:v>38</c:v>
                </c:pt>
                <c:pt idx="161">
                  <c:v>41</c:v>
                </c:pt>
                <c:pt idx="162">
                  <c:v>43</c:v>
                </c:pt>
                <c:pt idx="163">
                  <c:v>46</c:v>
                </c:pt>
                <c:pt idx="164">
                  <c:v>49</c:v>
                </c:pt>
                <c:pt idx="165">
                  <c:v>52</c:v>
                </c:pt>
                <c:pt idx="166">
                  <c:v>56</c:v>
                </c:pt>
                <c:pt idx="167">
                  <c:v>59</c:v>
                </c:pt>
                <c:pt idx="168">
                  <c:v>63</c:v>
                </c:pt>
                <c:pt idx="169">
                  <c:v>67</c:v>
                </c:pt>
                <c:pt idx="170">
                  <c:v>72</c:v>
                </c:pt>
                <c:pt idx="171">
                  <c:v>76</c:v>
                </c:pt>
                <c:pt idx="172">
                  <c:v>81</c:v>
                </c:pt>
                <c:pt idx="173">
                  <c:v>86</c:v>
                </c:pt>
                <c:pt idx="174">
                  <c:v>92</c:v>
                </c:pt>
                <c:pt idx="175">
                  <c:v>98</c:v>
                </c:pt>
                <c:pt idx="176">
                  <c:v>104</c:v>
                </c:pt>
                <c:pt idx="177">
                  <c:v>111</c:v>
                </c:pt>
                <c:pt idx="178">
                  <c:v>118</c:v>
                </c:pt>
                <c:pt idx="179">
                  <c:v>126</c:v>
                </c:pt>
                <c:pt idx="180">
                  <c:v>134</c:v>
                </c:pt>
                <c:pt idx="181">
                  <c:v>143</c:v>
                </c:pt>
                <c:pt idx="182">
                  <c:v>152</c:v>
                </c:pt>
                <c:pt idx="183">
                  <c:v>1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0C1-4E02-9EA0-D010686661C9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4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G$244:$G$427</c:f>
              <c:numCache>
                <c:formatCode>General</c:formatCode>
                <c:ptCount val="184"/>
                <c:pt idx="153">
                  <c:v>24</c:v>
                </c:pt>
                <c:pt idx="154">
                  <c:v>26</c:v>
                </c:pt>
                <c:pt idx="155">
                  <c:v>28</c:v>
                </c:pt>
                <c:pt idx="156">
                  <c:v>29</c:v>
                </c:pt>
                <c:pt idx="157">
                  <c:v>31</c:v>
                </c:pt>
                <c:pt idx="158">
                  <c:v>33</c:v>
                </c:pt>
                <c:pt idx="159">
                  <c:v>36</c:v>
                </c:pt>
                <c:pt idx="160">
                  <c:v>38</c:v>
                </c:pt>
                <c:pt idx="161">
                  <c:v>41</c:v>
                </c:pt>
                <c:pt idx="162">
                  <c:v>43</c:v>
                </c:pt>
                <c:pt idx="163">
                  <c:v>46</c:v>
                </c:pt>
                <c:pt idx="164">
                  <c:v>52</c:v>
                </c:pt>
                <c:pt idx="165">
                  <c:v>58</c:v>
                </c:pt>
                <c:pt idx="166">
                  <c:v>62</c:v>
                </c:pt>
                <c:pt idx="167">
                  <c:v>67</c:v>
                </c:pt>
                <c:pt idx="168">
                  <c:v>73</c:v>
                </c:pt>
                <c:pt idx="169">
                  <c:v>80</c:v>
                </c:pt>
                <c:pt idx="170">
                  <c:v>88</c:v>
                </c:pt>
                <c:pt idx="171">
                  <c:v>96</c:v>
                </c:pt>
                <c:pt idx="172">
                  <c:v>105</c:v>
                </c:pt>
                <c:pt idx="173">
                  <c:v>113</c:v>
                </c:pt>
                <c:pt idx="174">
                  <c:v>124</c:v>
                </c:pt>
                <c:pt idx="175">
                  <c:v>135</c:v>
                </c:pt>
                <c:pt idx="176">
                  <c:v>148</c:v>
                </c:pt>
                <c:pt idx="177">
                  <c:v>161</c:v>
                </c:pt>
                <c:pt idx="178">
                  <c:v>176</c:v>
                </c:pt>
                <c:pt idx="179">
                  <c:v>191</c:v>
                </c:pt>
                <c:pt idx="180">
                  <c:v>209</c:v>
                </c:pt>
                <c:pt idx="181">
                  <c:v>228</c:v>
                </c:pt>
                <c:pt idx="182">
                  <c:v>249</c:v>
                </c:pt>
                <c:pt idx="183">
                  <c:v>2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0C1-4E02-9EA0-D010686661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2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H$122:$H$274</c:f>
              <c:numCache>
                <c:formatCode>General</c:formatCode>
                <c:ptCount val="15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4C6-4CA2-937D-BBB2646D5F64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I$122:$I$274</c:f>
              <c:numCache>
                <c:formatCode>General</c:formatCode>
                <c:ptCount val="153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4C6-4CA2-937D-BBB2646D5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B$122:$B$274</c:f>
              <c:numCache>
                <c:formatCode>0</c:formatCode>
                <c:ptCount val="153"/>
                <c:pt idx="0">
                  <c:v>26.425517930339979</c:v>
                </c:pt>
                <c:pt idx="1">
                  <c:v>24.687488816109699</c:v>
                </c:pt>
                <c:pt idx="2">
                  <c:v>23.939949412139686</c:v>
                </c:pt>
                <c:pt idx="3">
                  <c:v>22.687820910489915</c:v>
                </c:pt>
                <c:pt idx="4">
                  <c:v>22.043068174565775</c:v>
                </c:pt>
                <c:pt idx="5">
                  <c:v>21.912248778871025</c:v>
                </c:pt>
                <c:pt idx="6">
                  <c:v>19.875203903052736</c:v>
                </c:pt>
                <c:pt idx="7">
                  <c:v>18.987500860838345</c:v>
                </c:pt>
                <c:pt idx="8">
                  <c:v>18.034388120776576</c:v>
                </c:pt>
                <c:pt idx="9">
                  <c:v>15.81980263651541</c:v>
                </c:pt>
                <c:pt idx="10">
                  <c:v>14.502264437018264</c:v>
                </c:pt>
                <c:pt idx="11">
                  <c:v>13.754725033048249</c:v>
                </c:pt>
                <c:pt idx="12">
                  <c:v>13.222103207719615</c:v>
                </c:pt>
                <c:pt idx="13">
                  <c:v>12.091449859214968</c:v>
                </c:pt>
                <c:pt idx="14">
                  <c:v>10.44686317048094</c:v>
                </c:pt>
                <c:pt idx="15">
                  <c:v>9.3068655794266686</c:v>
                </c:pt>
                <c:pt idx="16">
                  <c:v>8.9985055752890375</c:v>
                </c:pt>
                <c:pt idx="17">
                  <c:v>8.6621128435025323</c:v>
                </c:pt>
                <c:pt idx="18">
                  <c:v>8.5686704180062812</c:v>
                </c:pt>
                <c:pt idx="19">
                  <c:v>8.7181782988002841</c:v>
                </c:pt>
                <c:pt idx="20">
                  <c:v>8.1949007160212748</c:v>
                </c:pt>
                <c:pt idx="21">
                  <c:v>7.2978534312572574</c:v>
                </c:pt>
                <c:pt idx="22">
                  <c:v>7.0735916100662539</c:v>
                </c:pt>
                <c:pt idx="23">
                  <c:v>6.5035928145391182</c:v>
                </c:pt>
                <c:pt idx="24">
                  <c:v>6.3914619039436165</c:v>
                </c:pt>
                <c:pt idx="25">
                  <c:v>6.438183116691742</c:v>
                </c:pt>
                <c:pt idx="26">
                  <c:v>6.4475273592413664</c:v>
                </c:pt>
                <c:pt idx="27">
                  <c:v>6.7465431208293731</c:v>
                </c:pt>
                <c:pt idx="28">
                  <c:v>7.1576897930128807</c:v>
                </c:pt>
                <c:pt idx="29">
                  <c:v>7.4567055546008856</c:v>
                </c:pt>
                <c:pt idx="30">
                  <c:v>8.1108025330746472</c:v>
                </c:pt>
                <c:pt idx="31">
                  <c:v>8.409818294662653</c:v>
                </c:pt>
                <c:pt idx="32">
                  <c:v>8.9424401199912875</c:v>
                </c:pt>
                <c:pt idx="33">
                  <c:v>9.4096522474725468</c:v>
                </c:pt>
                <c:pt idx="34">
                  <c:v>9.2134231539304174</c:v>
                </c:pt>
                <c:pt idx="35">
                  <c:v>8.7835879966476593</c:v>
                </c:pt>
                <c:pt idx="36">
                  <c:v>10.119814681244058</c:v>
                </c:pt>
                <c:pt idx="37">
                  <c:v>10.895386812862947</c:v>
                </c:pt>
                <c:pt idx="38">
                  <c:v>12.026040161367595</c:v>
                </c:pt>
                <c:pt idx="39">
                  <c:v>12.325055922955599</c:v>
                </c:pt>
                <c:pt idx="40">
                  <c:v>12.68948138239098</c:v>
                </c:pt>
                <c:pt idx="41">
                  <c:v>13.754725033048249</c:v>
                </c:pt>
                <c:pt idx="42">
                  <c:v>15.735704453568786</c:v>
                </c:pt>
                <c:pt idx="43">
                  <c:v>15.558163845125907</c:v>
                </c:pt>
                <c:pt idx="44">
                  <c:v>15.333902023934904</c:v>
                </c:pt>
                <c:pt idx="45">
                  <c:v>14.922755351751395</c:v>
                </c:pt>
                <c:pt idx="46">
                  <c:v>15.296525053736401</c:v>
                </c:pt>
                <c:pt idx="47">
                  <c:v>15.006853534698024</c:v>
                </c:pt>
                <c:pt idx="48">
                  <c:v>14.773247470957392</c:v>
                </c:pt>
                <c:pt idx="49">
                  <c:v>14.567674134865639</c:v>
                </c:pt>
                <c:pt idx="50">
                  <c:v>14.287346858376884</c:v>
                </c:pt>
                <c:pt idx="51">
                  <c:v>14.016363824437756</c:v>
                </c:pt>
                <c:pt idx="52">
                  <c:v>13.530463211857246</c:v>
                </c:pt>
                <c:pt idx="53">
                  <c:v>12.857677748284233</c:v>
                </c:pt>
                <c:pt idx="54">
                  <c:v>12.521285016497727</c:v>
                </c:pt>
                <c:pt idx="55">
                  <c:v>12.325055922955599</c:v>
                </c:pt>
                <c:pt idx="56">
                  <c:v>11.885876523123216</c:v>
                </c:pt>
                <c:pt idx="57">
                  <c:v>11.521451063687834</c:v>
                </c:pt>
                <c:pt idx="58">
                  <c:v>11.596205004084837</c:v>
                </c:pt>
                <c:pt idx="59">
                  <c:v>11.119648634053952</c:v>
                </c:pt>
                <c:pt idx="60">
                  <c:v>11.026206208557701</c:v>
                </c:pt>
                <c:pt idx="61">
                  <c:v>10.998173480908825</c:v>
                </c:pt>
                <c:pt idx="62">
                  <c:v>10.568338323626067</c:v>
                </c:pt>
                <c:pt idx="63">
                  <c:v>10.428174685381689</c:v>
                </c:pt>
                <c:pt idx="64">
                  <c:v>10.577682566175692</c:v>
                </c:pt>
                <c:pt idx="65">
                  <c:v>10.203912864190684</c:v>
                </c:pt>
                <c:pt idx="66">
                  <c:v>10.530961353427566</c:v>
                </c:pt>
                <c:pt idx="67">
                  <c:v>10.895386812862947</c:v>
                </c:pt>
                <c:pt idx="68">
                  <c:v>11.166369846802079</c:v>
                </c:pt>
                <c:pt idx="69">
                  <c:v>11.31587772759608</c:v>
                </c:pt>
                <c:pt idx="70">
                  <c:v>11.521451063687834</c:v>
                </c:pt>
                <c:pt idx="71">
                  <c:v>11.624237731733711</c:v>
                </c:pt>
                <c:pt idx="72">
                  <c:v>11.867188038023967</c:v>
                </c:pt>
                <c:pt idx="73">
                  <c:v>12.268990467657849</c:v>
                </c:pt>
                <c:pt idx="74">
                  <c:v>12.156859557062345</c:v>
                </c:pt>
                <c:pt idx="75">
                  <c:v>11.885876523123216</c:v>
                </c:pt>
                <c:pt idx="76">
                  <c:v>12.325055922955599</c:v>
                </c:pt>
                <c:pt idx="77">
                  <c:v>12.698825624940605</c:v>
                </c:pt>
                <c:pt idx="78">
                  <c:v>12.596038956894731</c:v>
                </c:pt>
                <c:pt idx="79">
                  <c:v>12.362432893154098</c:v>
                </c:pt>
                <c:pt idx="80">
                  <c:v>11.932597735871342</c:v>
                </c:pt>
                <c:pt idx="81">
                  <c:v>11.848499552924714</c:v>
                </c:pt>
                <c:pt idx="82">
                  <c:v>12.128826829413471</c:v>
                </c:pt>
                <c:pt idx="83">
                  <c:v>12.091449859214968</c:v>
                </c:pt>
                <c:pt idx="84">
                  <c:v>11.605549246634462</c:v>
                </c:pt>
                <c:pt idx="85">
                  <c:v>11.951286220970593</c:v>
                </c:pt>
                <c:pt idx="86">
                  <c:v>12.381121378253349</c:v>
                </c:pt>
                <c:pt idx="87">
                  <c:v>12.493252288848852</c:v>
                </c:pt>
                <c:pt idx="88">
                  <c:v>12.493252288848852</c:v>
                </c:pt>
                <c:pt idx="89">
                  <c:v>12.250301982558598</c:v>
                </c:pt>
                <c:pt idx="90">
                  <c:v>12.530629259047352</c:v>
                </c:pt>
                <c:pt idx="91">
                  <c:v>12.895054718482733</c:v>
                </c:pt>
                <c:pt idx="92">
                  <c:v>13.053906841826361</c:v>
                </c:pt>
                <c:pt idx="93">
                  <c:v>13.932265641491126</c:v>
                </c:pt>
                <c:pt idx="94">
                  <c:v>15.100295960194273</c:v>
                </c:pt>
                <c:pt idx="95">
                  <c:v>15.782425666316911</c:v>
                </c:pt>
                <c:pt idx="96">
                  <c:v>16.333735976744794</c:v>
                </c:pt>
                <c:pt idx="97">
                  <c:v>17.735372359188574</c:v>
                </c:pt>
                <c:pt idx="98">
                  <c:v>20.501268153877621</c:v>
                </c:pt>
                <c:pt idx="99">
                  <c:v>21.603888774733392</c:v>
                </c:pt>
                <c:pt idx="100">
                  <c:v>22.659788182841034</c:v>
                </c:pt>
                <c:pt idx="101">
                  <c:v>23.939949412139686</c:v>
                </c:pt>
                <c:pt idx="102">
                  <c:v>24.351096084323192</c:v>
                </c:pt>
                <c:pt idx="103">
                  <c:v>24.313719114124691</c:v>
                </c:pt>
                <c:pt idx="104">
                  <c:v>25.238799126537586</c:v>
                </c:pt>
                <c:pt idx="105">
                  <c:v>24.967816092598454</c:v>
                </c:pt>
                <c:pt idx="106">
                  <c:v>26.276010049545977</c:v>
                </c:pt>
                <c:pt idx="107">
                  <c:v>27.556171278844626</c:v>
                </c:pt>
                <c:pt idx="108">
                  <c:v>27.518794308646122</c:v>
                </c:pt>
                <c:pt idx="109">
                  <c:v>27.99535067867701</c:v>
                </c:pt>
                <c:pt idx="110">
                  <c:v>28.462562806158267</c:v>
                </c:pt>
                <c:pt idx="111">
                  <c:v>28.359776138112391</c:v>
                </c:pt>
                <c:pt idx="112">
                  <c:v>28.752234325196646</c:v>
                </c:pt>
                <c:pt idx="113">
                  <c:v>28.770922810295897</c:v>
                </c:pt>
                <c:pt idx="114">
                  <c:v>28.10748158927251</c:v>
                </c:pt>
                <c:pt idx="115">
                  <c:v>28.658791899700397</c:v>
                </c:pt>
                <c:pt idx="116">
                  <c:v>29.705347065258415</c:v>
                </c:pt>
                <c:pt idx="117">
                  <c:v>30.294034345884803</c:v>
                </c:pt>
                <c:pt idx="118">
                  <c:v>32.088128915412831</c:v>
                </c:pt>
                <c:pt idx="119">
                  <c:v>30.938787081808936</c:v>
                </c:pt>
                <c:pt idx="120">
                  <c:v>32.901078017230219</c:v>
                </c:pt>
                <c:pt idx="121">
                  <c:v>36.937790798668296</c:v>
                </c:pt>
                <c:pt idx="122">
                  <c:v>39.984013869846102</c:v>
                </c:pt>
                <c:pt idx="123">
                  <c:v>41.273519341694374</c:v>
                </c:pt>
                <c:pt idx="124">
                  <c:v>41.899583592519257</c:v>
                </c:pt>
                <c:pt idx="125">
                  <c:v>43.086302396321656</c:v>
                </c:pt>
                <c:pt idx="126">
                  <c:v>49.019896415333648</c:v>
                </c:pt>
                <c:pt idx="127">
                  <c:v>51.953988575915943</c:v>
                </c:pt>
                <c:pt idx="128">
                  <c:v>52.617429796939334</c:v>
                </c:pt>
                <c:pt idx="129">
                  <c:v>54.402180123917731</c:v>
                </c:pt>
                <c:pt idx="130">
                  <c:v>55.46742377457501</c:v>
                </c:pt>
                <c:pt idx="131">
                  <c:v>55.654308625567509</c:v>
                </c:pt>
                <c:pt idx="132">
                  <c:v>60.737576572563604</c:v>
                </c:pt>
                <c:pt idx="133">
                  <c:v>64.465929349864041</c:v>
                </c:pt>
                <c:pt idx="134">
                  <c:v>68.717559709943501</c:v>
                </c:pt>
                <c:pt idx="135">
                  <c:v>73.847548869687714</c:v>
                </c:pt>
                <c:pt idx="136">
                  <c:v>80.995894420150961</c:v>
                </c:pt>
                <c:pt idx="137">
                  <c:v>85.602605997116186</c:v>
                </c:pt>
                <c:pt idx="138">
                  <c:v>89.882269084844509</c:v>
                </c:pt>
                <c:pt idx="139">
                  <c:v>101.00191771889847</c:v>
                </c:pt>
                <c:pt idx="140">
                  <c:v>117.26089975524626</c:v>
                </c:pt>
                <c:pt idx="141">
                  <c:v>133.88430725102944</c:v>
                </c:pt>
                <c:pt idx="142">
                  <c:v>153.60065903073854</c:v>
                </c:pt>
                <c:pt idx="143">
                  <c:v>176.57815146026684</c:v>
                </c:pt>
                <c:pt idx="144">
                  <c:v>191.46352984181974</c:v>
                </c:pt>
                <c:pt idx="145" formatCode="General">
                  <c:v>201.1</c:v>
                </c:pt>
                <c:pt idx="146" formatCode="General">
                  <c:v>217.4</c:v>
                </c:pt>
                <c:pt idx="147" formatCode="General">
                  <c:v>245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4C6-4CA2-937D-BBB2646D5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C$122:$C$274</c:f>
              <c:numCache>
                <c:formatCode>General</c:formatCode>
                <c:ptCount val="15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4C6-4CA2-937D-BBB2646D5F6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D$122:$D$274</c:f>
              <c:numCache>
                <c:formatCode>General</c:formatCode>
                <c:ptCount val="153"/>
                <c:pt idx="122" formatCode="0">
                  <c:v>37.353495429982509</c:v>
                </c:pt>
                <c:pt idx="123" formatCode="0">
                  <c:v>38.776628402049226</c:v>
                </c:pt>
                <c:pt idx="124" formatCode="0">
                  <c:v>40.244702415339098</c:v>
                </c:pt>
                <c:pt idx="125" formatCode="0">
                  <c:v>41.772697816926502</c:v>
                </c:pt>
                <c:pt idx="126" formatCode="0">
                  <c:v>43.353124433274274</c:v>
                </c:pt>
                <c:pt idx="127" formatCode="0">
                  <c:v>45.000962611456778</c:v>
                </c:pt>
                <c:pt idx="128" formatCode="0">
                  <c:v>46.738682872085597</c:v>
                </c:pt>
                <c:pt idx="129" formatCode="0">
                  <c:v>48.521344173937571</c:v>
                </c:pt>
                <c:pt idx="130" formatCode="0">
                  <c:v>50.348946517012713</c:v>
                </c:pt>
                <c:pt idx="131" formatCode="0">
                  <c:v>52.236470248385409</c:v>
                </c:pt>
                <c:pt idx="132" formatCode="0">
                  <c:v>54.183915368055644</c:v>
                </c:pt>
                <c:pt idx="133" formatCode="0">
                  <c:v>56.213752396635002</c:v>
                </c:pt>
                <c:pt idx="134" formatCode="0">
                  <c:v>58.311000987049098</c:v>
                </c:pt>
                <c:pt idx="135" formatCode="0">
                  <c:v>60.483151312835112</c:v>
                </c:pt>
                <c:pt idx="136" formatCode="0">
                  <c:v>62.7152230269187</c:v>
                </c:pt>
                <c:pt idx="137" formatCode="0">
                  <c:v>65.022196476374205</c:v>
                </c:pt>
                <c:pt idx="138" formatCode="0">
                  <c:v>67.411561834738833</c:v>
                </c:pt>
                <c:pt idx="139" formatCode="0">
                  <c:v>69.890809275549799</c:v>
                </c:pt>
                <c:pt idx="140" formatCode="0">
                  <c:v>72.452448625269867</c:v>
                </c:pt>
                <c:pt idx="141" formatCode="0">
                  <c:v>75.096479883899079</c:v>
                </c:pt>
                <c:pt idx="142" formatCode="0">
                  <c:v>77.822903051437407</c:v>
                </c:pt>
                <c:pt idx="143" formatCode="0">
                  <c:v>80.646698474959237</c:v>
                </c:pt>
                <c:pt idx="144" formatCode="0">
                  <c:v>83.567866154464582</c:v>
                </c:pt>
                <c:pt idx="145" formatCode="0">
                  <c:v>86.586406089953442</c:v>
                </c:pt>
                <c:pt idx="146" formatCode="0">
                  <c:v>89.702318281425832</c:v>
                </c:pt>
                <c:pt idx="147" formatCode="0">
                  <c:v>92.923092902418887</c:v>
                </c:pt>
                <c:pt idx="148" formatCode="0">
                  <c:v>96.263710300007062</c:v>
                </c:pt>
                <c:pt idx="149" formatCode="0">
                  <c:v>99.716680300653152</c:v>
                </c:pt>
                <c:pt idx="150" formatCode="0">
                  <c:v>103.2820029043571</c:v>
                </c:pt>
                <c:pt idx="151" formatCode="0">
                  <c:v>106.97465845819336</c:v>
                </c:pt>
                <c:pt idx="152" formatCode="0">
                  <c:v>110.78715678862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4C6-4CA2-937D-BBB2646D5F6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E$122:$E$274</c:f>
              <c:numCache>
                <c:formatCode>General</c:formatCode>
                <c:ptCount val="153"/>
                <c:pt idx="122" formatCode="0">
                  <c:v>37.578200636098309</c:v>
                </c:pt>
                <c:pt idx="123" formatCode="0">
                  <c:v>39.353371764413097</c:v>
                </c:pt>
                <c:pt idx="124" formatCode="0">
                  <c:v>41.263366016397377</c:v>
                </c:pt>
                <c:pt idx="125" formatCode="0">
                  <c:v>43.278222697902343</c:v>
                </c:pt>
                <c:pt idx="126" formatCode="0">
                  <c:v>45.465353370762756</c:v>
                </c:pt>
                <c:pt idx="127" formatCode="0">
                  <c:v>47.862208902664584</c:v>
                </c:pt>
                <c:pt idx="128" formatCode="0">
                  <c:v>50.528710681905373</c:v>
                </c:pt>
                <c:pt idx="129" formatCode="0">
                  <c:v>53.195212461146134</c:v>
                </c:pt>
                <c:pt idx="130" formatCode="0">
                  <c:v>55.944106149296047</c:v>
                </c:pt>
                <c:pt idx="131" formatCode="0">
                  <c:v>58.812842614041053</c:v>
                </c:pt>
                <c:pt idx="132" formatCode="0">
                  <c:v>61.883813764290267</c:v>
                </c:pt>
                <c:pt idx="133" formatCode="0">
                  <c:v>65.142039252969312</c:v>
                </c:pt>
                <c:pt idx="134" formatCode="0">
                  <c:v>68.572538733003796</c:v>
                </c:pt>
                <c:pt idx="135" formatCode="0">
                  <c:v>72.137861336707758</c:v>
                </c:pt>
                <c:pt idx="136" formatCode="0">
                  <c:v>75.838007064081197</c:v>
                </c:pt>
                <c:pt idx="137" formatCode="0">
                  <c:v>79.710426782810089</c:v>
                </c:pt>
                <c:pt idx="138" formatCode="0">
                  <c:v>83.807551707654767</c:v>
                </c:pt>
                <c:pt idx="139" formatCode="0">
                  <c:v>88.136872012152452</c:v>
                </c:pt>
                <c:pt idx="140" formatCode="0">
                  <c:v>92.668427002154317</c:v>
                </c:pt>
                <c:pt idx="141" formatCode="0">
                  <c:v>97.402216677660434</c:v>
                </c:pt>
                <c:pt idx="142" formatCode="0">
                  <c:v>102.36071155928235</c:v>
                </c:pt>
                <c:pt idx="143" formatCode="0">
                  <c:v>107.56638216763162</c:v>
                </c:pt>
                <c:pt idx="144" formatCode="0">
                  <c:v>113.04918919685701</c:v>
                </c:pt>
                <c:pt idx="145" formatCode="0">
                  <c:v>118.80164247342142</c:v>
                </c:pt>
                <c:pt idx="146" formatCode="0">
                  <c:v>124.83123217086195</c:v>
                </c:pt>
                <c:pt idx="147" formatCode="0">
                  <c:v>131.15293863625303</c:v>
                </c:pt>
                <c:pt idx="148" formatCode="0">
                  <c:v>137.77425204313181</c:v>
                </c:pt>
                <c:pt idx="149" formatCode="0">
                  <c:v>144.73262325918432</c:v>
                </c:pt>
                <c:pt idx="150" formatCode="0">
                  <c:v>152.02805228441048</c:v>
                </c:pt>
                <c:pt idx="151" formatCode="0">
                  <c:v>159.69049981295916</c:v>
                </c:pt>
                <c:pt idx="152" formatCode="0">
                  <c:v>167.727456018367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4C6-4CA2-937D-BBB2646D5F64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F$122:$F$274</c:f>
              <c:numCache>
                <c:formatCode>General</c:formatCode>
                <c:ptCount val="153"/>
                <c:pt idx="122" formatCode="0">
                  <c:v>37.79541566867691</c:v>
                </c:pt>
                <c:pt idx="123" formatCode="0">
                  <c:v>39.92262495323979</c:v>
                </c:pt>
                <c:pt idx="124" formatCode="0">
                  <c:v>42.267049270381271</c:v>
                </c:pt>
                <c:pt idx="125" formatCode="0">
                  <c:v>44.776257405340978</c:v>
                </c:pt>
                <c:pt idx="126" formatCode="0">
                  <c:v>47.577582308251245</c:v>
                </c:pt>
                <c:pt idx="127" formatCode="0">
                  <c:v>50.760906061558345</c:v>
                </c:pt>
                <c:pt idx="128" formatCode="0">
                  <c:v>54.401130400634251</c:v>
                </c:pt>
                <c:pt idx="129" formatCode="0">
                  <c:v>58.041354739710151</c:v>
                </c:pt>
                <c:pt idx="130" formatCode="0">
                  <c:v>61.793931681843937</c:v>
                </c:pt>
                <c:pt idx="131" formatCode="0">
                  <c:v>65.771213830093529</c:v>
                </c:pt>
                <c:pt idx="132" formatCode="0">
                  <c:v>70.123004655202777</c:v>
                </c:pt>
                <c:pt idx="133" formatCode="0">
                  <c:v>74.826833636560124</c:v>
                </c:pt>
                <c:pt idx="134" formatCode="0">
                  <c:v>79.830269559405167</c:v>
                </c:pt>
                <c:pt idx="135" formatCode="0">
                  <c:v>85.103351729589193</c:v>
                </c:pt>
                <c:pt idx="136" formatCode="0">
                  <c:v>90.616119452963403</c:v>
                </c:pt>
                <c:pt idx="137" formatCode="0">
                  <c:v>96.495905679660069</c:v>
                </c:pt>
                <c:pt idx="138" formatCode="0">
                  <c:v>102.81012197151394</c:v>
                </c:pt>
                <c:pt idx="139" formatCode="0">
                  <c:v>109.5737486755994</c:v>
                </c:pt>
                <c:pt idx="140" formatCode="0">
                  <c:v>116.7493349242305</c:v>
                </c:pt>
                <c:pt idx="141" formatCode="0">
                  <c:v>124.34437089094439</c:v>
                </c:pt>
                <c:pt idx="142" formatCode="0">
                  <c:v>132.3888172698899</c:v>
                </c:pt>
                <c:pt idx="143" formatCode="0">
                  <c:v>140.95757579643893</c:v>
                </c:pt>
                <c:pt idx="144" formatCode="0">
                  <c:v>150.10307768535185</c:v>
                </c:pt>
                <c:pt idx="145" formatCode="0">
                  <c:v>159.85528363077739</c:v>
                </c:pt>
                <c:pt idx="146" formatCode="0">
                  <c:v>170.20670345917839</c:v>
                </c:pt>
                <c:pt idx="147" formatCode="0">
                  <c:v>181.18729786470365</c:v>
                </c:pt>
                <c:pt idx="148" formatCode="0">
                  <c:v>192.85698823565065</c:v>
                </c:pt>
                <c:pt idx="149" formatCode="0">
                  <c:v>205.29067630739138</c:v>
                </c:pt>
                <c:pt idx="150" formatCode="0">
                  <c:v>218.52581294761177</c:v>
                </c:pt>
                <c:pt idx="151" formatCode="0">
                  <c:v>232.61482937107218</c:v>
                </c:pt>
                <c:pt idx="152" formatCode="0">
                  <c:v>247.572705924846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D4C6-4CA2-937D-BBB2646D5F64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G$122:$G$274</c:f>
              <c:numCache>
                <c:formatCode>General</c:formatCode>
                <c:ptCount val="153"/>
                <c:pt idx="122" formatCode="0">
                  <c:v>37.79541566867691</c:v>
                </c:pt>
                <c:pt idx="123" formatCode="0">
                  <c:v>39.92262495323979</c:v>
                </c:pt>
                <c:pt idx="124" formatCode="0">
                  <c:v>42.267049270381271</c:v>
                </c:pt>
                <c:pt idx="125" formatCode="0">
                  <c:v>44.776257405340978</c:v>
                </c:pt>
                <c:pt idx="126" formatCode="0">
                  <c:v>47.577582308251245</c:v>
                </c:pt>
                <c:pt idx="127" formatCode="0">
                  <c:v>50.760906061558345</c:v>
                </c:pt>
                <c:pt idx="128" formatCode="0">
                  <c:v>54.401130400634251</c:v>
                </c:pt>
                <c:pt idx="129" formatCode="0">
                  <c:v>58.041354739710151</c:v>
                </c:pt>
                <c:pt idx="130" formatCode="0">
                  <c:v>61.793931681843937</c:v>
                </c:pt>
                <c:pt idx="131" formatCode="0">
                  <c:v>65.771213830093529</c:v>
                </c:pt>
                <c:pt idx="132" formatCode="0">
                  <c:v>70.123004655202777</c:v>
                </c:pt>
                <c:pt idx="133" formatCode="0">
                  <c:v>75.67322324626295</c:v>
                </c:pt>
                <c:pt idx="134" formatCode="0">
                  <c:v>82.062341273488741</c:v>
                </c:pt>
                <c:pt idx="135" formatCode="0">
                  <c:v>89.088124051375985</c:v>
                </c:pt>
                <c:pt idx="136" formatCode="0">
                  <c:v>96.615748456255147</c:v>
                </c:pt>
                <c:pt idx="137" formatCode="0">
                  <c:v>105.06466420620909</c:v>
                </c:pt>
                <c:pt idx="138" formatCode="0">
                  <c:v>114.70451754857673</c:v>
                </c:pt>
                <c:pt idx="139" formatCode="0">
                  <c:v>125.68511195410197</c:v>
                </c:pt>
                <c:pt idx="140" formatCode="0">
                  <c:v>137.22746937491669</c:v>
                </c:pt>
                <c:pt idx="141" formatCode="0">
                  <c:v>149.53382449652514</c:v>
                </c:pt>
                <c:pt idx="142" formatCode="0">
                  <c:v>162.90378426041502</c:v>
                </c:pt>
                <c:pt idx="143" formatCode="0">
                  <c:v>177.72683769052034</c:v>
                </c:pt>
                <c:pt idx="144" formatCode="0">
                  <c:v>194.08537669575028</c:v>
                </c:pt>
                <c:pt idx="145" formatCode="0">
                  <c:v>211.93446023488175</c:v>
                </c:pt>
                <c:pt idx="146" formatCode="0">
                  <c:v>231.24412761376581</c:v>
                </c:pt>
                <c:pt idx="147" formatCode="0">
                  <c:v>252.07430022070014</c:v>
                </c:pt>
                <c:pt idx="148" formatCode="0">
                  <c:v>274.81446707961868</c:v>
                </c:pt>
                <c:pt idx="149" formatCode="0">
                  <c:v>299.77172530554645</c:v>
                </c:pt>
                <c:pt idx="150" formatCode="0">
                  <c:v>327.10336854276443</c:v>
                </c:pt>
                <c:pt idx="151" formatCode="0">
                  <c:v>356.83186731188425</c:v>
                </c:pt>
                <c:pt idx="152" formatCode="0">
                  <c:v>389.129495604261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D4C6-4CA2-937D-BBB2646D5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3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H$122:$H$274</c:f>
              <c:numCache>
                <c:formatCode>0</c:formatCode>
                <c:ptCount val="15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1F-4F8C-8040-ED76FB7F1E10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I$122:$I$274</c:f>
              <c:numCache>
                <c:formatCode>0</c:formatCode>
                <c:ptCount val="153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61F-4F8C-8040-ED76FB7F1E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B$122:$B$274</c:f>
              <c:numCache>
                <c:formatCode>0</c:formatCode>
                <c:ptCount val="153"/>
                <c:pt idx="0">
                  <c:v>15.300579891977906</c:v>
                </c:pt>
                <c:pt idx="1">
                  <c:v>15.683094389277354</c:v>
                </c:pt>
                <c:pt idx="2">
                  <c:v>16.448123383876251</c:v>
                </c:pt>
                <c:pt idx="3">
                  <c:v>17.97818137307404</c:v>
                </c:pt>
                <c:pt idx="4">
                  <c:v>17.02189512982542</c:v>
                </c:pt>
                <c:pt idx="5">
                  <c:v>17.02189512982542</c:v>
                </c:pt>
                <c:pt idx="6">
                  <c:v>13.770521902780114</c:v>
                </c:pt>
                <c:pt idx="7">
                  <c:v>14.726808146028734</c:v>
                </c:pt>
                <c:pt idx="8">
                  <c:v>13.770521902780114</c:v>
                </c:pt>
                <c:pt idx="9">
                  <c:v>10.901663173034258</c:v>
                </c:pt>
                <c:pt idx="10">
                  <c:v>8.2240616919381253</c:v>
                </c:pt>
                <c:pt idx="11">
                  <c:v>8.7978334378872951</c:v>
                </c:pt>
                <c:pt idx="12">
                  <c:v>8.0328044432884003</c:v>
                </c:pt>
                <c:pt idx="13">
                  <c:v>7.0765182000397813</c:v>
                </c:pt>
                <c:pt idx="14">
                  <c:v>5.1639457135425433</c:v>
                </c:pt>
                <c:pt idx="15">
                  <c:v>4.3989167189436476</c:v>
                </c:pt>
                <c:pt idx="16">
                  <c:v>4.7814312162430959</c:v>
                </c:pt>
                <c:pt idx="17">
                  <c:v>5.1639457135425433</c:v>
                </c:pt>
                <c:pt idx="18">
                  <c:v>4.5901739675933717</c:v>
                </c:pt>
                <c:pt idx="19">
                  <c:v>4.9726884648928191</c:v>
                </c:pt>
                <c:pt idx="20">
                  <c:v>4.9726884648928191</c:v>
                </c:pt>
                <c:pt idx="21">
                  <c:v>4.0164022216442001</c:v>
                </c:pt>
                <c:pt idx="22">
                  <c:v>5.5464602108419907</c:v>
                </c:pt>
                <c:pt idx="23">
                  <c:v>5.9289747081414381</c:v>
                </c:pt>
                <c:pt idx="24">
                  <c:v>5.9289747081414381</c:v>
                </c:pt>
                <c:pt idx="25">
                  <c:v>6.1202319567911614</c:v>
                </c:pt>
                <c:pt idx="26">
                  <c:v>6.1202319567911614</c:v>
                </c:pt>
                <c:pt idx="27">
                  <c:v>5.7377174594917149</c:v>
                </c:pt>
                <c:pt idx="28">
                  <c:v>6.1202319567911614</c:v>
                </c:pt>
                <c:pt idx="29">
                  <c:v>4.7814312162430959</c:v>
                </c:pt>
                <c:pt idx="30">
                  <c:v>4.9726884648928191</c:v>
                </c:pt>
                <c:pt idx="31">
                  <c:v>4.3989167189436476</c:v>
                </c:pt>
                <c:pt idx="32">
                  <c:v>4.3989167189436476</c:v>
                </c:pt>
                <c:pt idx="33">
                  <c:v>4.7814312162430959</c:v>
                </c:pt>
                <c:pt idx="34">
                  <c:v>4.5901739675933717</c:v>
                </c:pt>
                <c:pt idx="35">
                  <c:v>4.3989167189436476</c:v>
                </c:pt>
                <c:pt idx="36">
                  <c:v>4.2076594702939243</c:v>
                </c:pt>
                <c:pt idx="37">
                  <c:v>4.5901739675933717</c:v>
                </c:pt>
                <c:pt idx="38">
                  <c:v>6.8852609513900571</c:v>
                </c:pt>
                <c:pt idx="39">
                  <c:v>8.6065761892375718</c:v>
                </c:pt>
                <c:pt idx="40">
                  <c:v>9.9453769297856383</c:v>
                </c:pt>
                <c:pt idx="41">
                  <c:v>12.049206664932601</c:v>
                </c:pt>
                <c:pt idx="42">
                  <c:v>15.300579891977906</c:v>
                </c:pt>
                <c:pt idx="43">
                  <c:v>16.448123383876251</c:v>
                </c:pt>
                <c:pt idx="44">
                  <c:v>17.213152378475144</c:v>
                </c:pt>
                <c:pt idx="45">
                  <c:v>16.065608886576801</c:v>
                </c:pt>
                <c:pt idx="46">
                  <c:v>14.535550897379009</c:v>
                </c:pt>
                <c:pt idx="47">
                  <c:v>12.622978410881773</c:v>
                </c:pt>
                <c:pt idx="48">
                  <c:v>11.666692167633155</c:v>
                </c:pt>
                <c:pt idx="49">
                  <c:v>9.5628624324861917</c:v>
                </c:pt>
                <c:pt idx="50">
                  <c:v>8.4153189405878486</c:v>
                </c:pt>
                <c:pt idx="51">
                  <c:v>7.4590326973392296</c:v>
                </c:pt>
                <c:pt idx="52">
                  <c:v>6.6940037027403338</c:v>
                </c:pt>
                <c:pt idx="53">
                  <c:v>6.3114892054408864</c:v>
                </c:pt>
                <c:pt idx="54">
                  <c:v>7.6502899459889528</c:v>
                </c:pt>
                <c:pt idx="55">
                  <c:v>7.0765182000397813</c:v>
                </c:pt>
                <c:pt idx="56">
                  <c:v>8.2240616919381253</c:v>
                </c:pt>
                <c:pt idx="57">
                  <c:v>9.754119681135915</c:v>
                </c:pt>
                <c:pt idx="58">
                  <c:v>11.47543491898343</c:v>
                </c:pt>
                <c:pt idx="59">
                  <c:v>11.666692167633155</c:v>
                </c:pt>
                <c:pt idx="60">
                  <c:v>12.814235659531496</c:v>
                </c:pt>
                <c:pt idx="61">
                  <c:v>13.388007405480668</c:v>
                </c:pt>
                <c:pt idx="62">
                  <c:v>13.196750156830943</c:v>
                </c:pt>
                <c:pt idx="63">
                  <c:v>13.005492908181219</c:v>
                </c:pt>
                <c:pt idx="64">
                  <c:v>12.622978410881773</c:v>
                </c:pt>
                <c:pt idx="65">
                  <c:v>10.710405924384535</c:v>
                </c:pt>
                <c:pt idx="66">
                  <c:v>10.901663173034258</c:v>
                </c:pt>
                <c:pt idx="67">
                  <c:v>10.136634178435363</c:v>
                </c:pt>
                <c:pt idx="68">
                  <c:v>8.7978334378872951</c:v>
                </c:pt>
                <c:pt idx="69">
                  <c:v>9.754119681135915</c:v>
                </c:pt>
                <c:pt idx="70">
                  <c:v>8.4153189405878486</c:v>
                </c:pt>
                <c:pt idx="71">
                  <c:v>7.6502899459889528</c:v>
                </c:pt>
                <c:pt idx="72">
                  <c:v>7.6502899459889528</c:v>
                </c:pt>
                <c:pt idx="73">
                  <c:v>7.0765182000397813</c:v>
                </c:pt>
                <c:pt idx="74">
                  <c:v>6.6940037027403338</c:v>
                </c:pt>
                <c:pt idx="75">
                  <c:v>6.1202319567911614</c:v>
                </c:pt>
                <c:pt idx="76">
                  <c:v>5.5464602108419907</c:v>
                </c:pt>
                <c:pt idx="77">
                  <c:v>5.3552029621922674</c:v>
                </c:pt>
                <c:pt idx="78">
                  <c:v>6.1202319567911614</c:v>
                </c:pt>
                <c:pt idx="79">
                  <c:v>5.7377174594917149</c:v>
                </c:pt>
                <c:pt idx="80">
                  <c:v>5.3552029621922674</c:v>
                </c:pt>
                <c:pt idx="81">
                  <c:v>6.1202319567911614</c:v>
                </c:pt>
                <c:pt idx="82">
                  <c:v>6.3114892054408864</c:v>
                </c:pt>
                <c:pt idx="83">
                  <c:v>5.3552029621922674</c:v>
                </c:pt>
                <c:pt idx="84">
                  <c:v>5.9289747081414381</c:v>
                </c:pt>
                <c:pt idx="85">
                  <c:v>5.9289747081414381</c:v>
                </c:pt>
                <c:pt idx="86">
                  <c:v>6.1202319567911614</c:v>
                </c:pt>
                <c:pt idx="87">
                  <c:v>6.3114892054408864</c:v>
                </c:pt>
                <c:pt idx="88">
                  <c:v>5.7377174594917149</c:v>
                </c:pt>
                <c:pt idx="89">
                  <c:v>6.1202319567911614</c:v>
                </c:pt>
                <c:pt idx="90">
                  <c:v>6.5027464540906097</c:v>
                </c:pt>
                <c:pt idx="91">
                  <c:v>6.6940037027403338</c:v>
                </c:pt>
                <c:pt idx="92">
                  <c:v>6.3114892054408864</c:v>
                </c:pt>
                <c:pt idx="93">
                  <c:v>8.9890906865370201</c:v>
                </c:pt>
                <c:pt idx="94">
                  <c:v>10.136634178435363</c:v>
                </c:pt>
                <c:pt idx="95">
                  <c:v>12.049206664932601</c:v>
                </c:pt>
                <c:pt idx="96">
                  <c:v>12.240463913582323</c:v>
                </c:pt>
                <c:pt idx="97">
                  <c:v>13.961779151429839</c:v>
                </c:pt>
                <c:pt idx="98">
                  <c:v>17.97818137307404</c:v>
                </c:pt>
                <c:pt idx="99">
                  <c:v>19.125724864972383</c:v>
                </c:pt>
                <c:pt idx="100">
                  <c:v>20.082011108221003</c:v>
                </c:pt>
                <c:pt idx="101">
                  <c:v>23.142127086616583</c:v>
                </c:pt>
                <c:pt idx="102">
                  <c:v>23.907156081215479</c:v>
                </c:pt>
                <c:pt idx="103">
                  <c:v>24.289670578514926</c:v>
                </c:pt>
                <c:pt idx="104">
                  <c:v>24.863442324464096</c:v>
                </c:pt>
                <c:pt idx="105">
                  <c:v>23.715898832565752</c:v>
                </c:pt>
                <c:pt idx="106">
                  <c:v>25.245956821763546</c:v>
                </c:pt>
                <c:pt idx="107">
                  <c:v>24.672185075814372</c:v>
                </c:pt>
                <c:pt idx="108">
                  <c:v>22.568355340667413</c:v>
                </c:pt>
                <c:pt idx="109">
                  <c:v>22.568355340667413</c:v>
                </c:pt>
                <c:pt idx="110">
                  <c:v>22.37709809201769</c:v>
                </c:pt>
                <c:pt idx="111">
                  <c:v>23.33338433526631</c:v>
                </c:pt>
                <c:pt idx="112">
                  <c:v>24.289670578514926</c:v>
                </c:pt>
                <c:pt idx="113">
                  <c:v>24.480927827164646</c:v>
                </c:pt>
                <c:pt idx="114">
                  <c:v>22.759612589317133</c:v>
                </c:pt>
                <c:pt idx="115">
                  <c:v>22.950869837966859</c:v>
                </c:pt>
                <c:pt idx="116">
                  <c:v>21.612069097418793</c:v>
                </c:pt>
                <c:pt idx="117">
                  <c:v>21.42081184876907</c:v>
                </c:pt>
                <c:pt idx="118">
                  <c:v>19.890753859571277</c:v>
                </c:pt>
                <c:pt idx="119">
                  <c:v>19.50823936227183</c:v>
                </c:pt>
                <c:pt idx="120">
                  <c:v>20.273268356870727</c:v>
                </c:pt>
                <c:pt idx="121">
                  <c:v>21.612069097418793</c:v>
                </c:pt>
                <c:pt idx="122">
                  <c:v>22.37709809201769</c:v>
                </c:pt>
                <c:pt idx="123">
                  <c:v>22.759612589317133</c:v>
                </c:pt>
                <c:pt idx="124">
                  <c:v>25.819728567712719</c:v>
                </c:pt>
                <c:pt idx="125">
                  <c:v>27.732301054209952</c:v>
                </c:pt>
                <c:pt idx="126">
                  <c:v>29.836130789356918</c:v>
                </c:pt>
                <c:pt idx="127">
                  <c:v>29.836130789356918</c:v>
                </c:pt>
                <c:pt idx="128">
                  <c:v>32.322475021803328</c:v>
                </c:pt>
                <c:pt idx="129">
                  <c:v>33.278761265051948</c:v>
                </c:pt>
                <c:pt idx="130">
                  <c:v>37.677677983995594</c:v>
                </c:pt>
                <c:pt idx="131">
                  <c:v>38.251449729944767</c:v>
                </c:pt>
                <c:pt idx="132">
                  <c:v>40.355279465091726</c:v>
                </c:pt>
                <c:pt idx="133">
                  <c:v>41.694080205639793</c:v>
                </c:pt>
                <c:pt idx="134">
                  <c:v>47.240540416481785</c:v>
                </c:pt>
                <c:pt idx="135">
                  <c:v>52.787000627323771</c:v>
                </c:pt>
                <c:pt idx="136">
                  <c:v>59.289747081414383</c:v>
                </c:pt>
                <c:pt idx="137">
                  <c:v>61.011062319261903</c:v>
                </c:pt>
                <c:pt idx="138">
                  <c:v>62.15860581116025</c:v>
                </c:pt>
                <c:pt idx="139">
                  <c:v>74.39906972474256</c:v>
                </c:pt>
                <c:pt idx="140">
                  <c:v>93.524794589714944</c:v>
                </c:pt>
                <c:pt idx="141">
                  <c:v>104.23520051409949</c:v>
                </c:pt>
                <c:pt idx="142">
                  <c:v>114.37183469253485</c:v>
                </c:pt>
                <c:pt idx="143">
                  <c:v>129.67241458451275</c:v>
                </c:pt>
                <c:pt idx="144">
                  <c:v>134.07133130345642</c:v>
                </c:pt>
                <c:pt idx="145">
                  <c:v>146.31179521703874</c:v>
                </c:pt>
                <c:pt idx="146">
                  <c:v>163.7162048441636</c:v>
                </c:pt>
                <c:pt idx="147">
                  <c:v>175.191639763147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61F-4F8C-8040-ED76FB7F1E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C$122:$C$274</c:f>
              <c:numCache>
                <c:formatCode>General</c:formatCode>
                <c:ptCount val="15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61F-4F8C-8040-ED76FB7F1E1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1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D$122:$D$274</c:f>
              <c:numCache>
                <c:formatCode>General</c:formatCode>
                <c:ptCount val="153"/>
                <c:pt idx="122">
                  <c:v>21.803326346068516</c:v>
                </c:pt>
                <c:pt idx="123">
                  <c:v>22.568355340667413</c:v>
                </c:pt>
                <c:pt idx="124">
                  <c:v>23.524641583916029</c:v>
                </c:pt>
                <c:pt idx="125">
                  <c:v>24.289670578514926</c:v>
                </c:pt>
                <c:pt idx="126">
                  <c:v>25.245956821763546</c:v>
                </c:pt>
                <c:pt idx="127">
                  <c:v>26.202243065012162</c:v>
                </c:pt>
                <c:pt idx="128">
                  <c:v>27.349786556910509</c:v>
                </c:pt>
                <c:pt idx="129">
                  <c:v>28.497330048808852</c:v>
                </c:pt>
                <c:pt idx="130">
                  <c:v>29.644873540707191</c:v>
                </c:pt>
                <c:pt idx="131">
                  <c:v>30.601159783955811</c:v>
                </c:pt>
                <c:pt idx="132">
                  <c:v>31.748703275854158</c:v>
                </c:pt>
                <c:pt idx="133">
                  <c:v>32.896246767752501</c:v>
                </c:pt>
                <c:pt idx="134">
                  <c:v>34.043790259650841</c:v>
                </c:pt>
                <c:pt idx="135">
                  <c:v>35.19133375154918</c:v>
                </c:pt>
                <c:pt idx="136">
                  <c:v>36.338877243447527</c:v>
                </c:pt>
                <c:pt idx="137">
                  <c:v>37.677677983995594</c:v>
                </c:pt>
                <c:pt idx="138">
                  <c:v>39.207735973193387</c:v>
                </c:pt>
                <c:pt idx="139">
                  <c:v>40.73779396239118</c:v>
                </c:pt>
                <c:pt idx="140">
                  <c:v>42.267851951588959</c:v>
                </c:pt>
                <c:pt idx="141">
                  <c:v>43.797909940786752</c:v>
                </c:pt>
                <c:pt idx="142">
                  <c:v>45.519225178634265</c:v>
                </c:pt>
                <c:pt idx="143">
                  <c:v>47.240540416481785</c:v>
                </c:pt>
                <c:pt idx="144">
                  <c:v>48.961855654329291</c:v>
                </c:pt>
                <c:pt idx="145">
                  <c:v>50.683170892176811</c:v>
                </c:pt>
                <c:pt idx="146">
                  <c:v>52.404486130024324</c:v>
                </c:pt>
                <c:pt idx="147">
                  <c:v>54.317058616521571</c:v>
                </c:pt>
                <c:pt idx="148">
                  <c:v>56.420888351668523</c:v>
                </c:pt>
                <c:pt idx="149">
                  <c:v>58.33346083816577</c:v>
                </c:pt>
                <c:pt idx="150">
                  <c:v>60.43729057331273</c:v>
                </c:pt>
                <c:pt idx="151">
                  <c:v>62.541120308459689</c:v>
                </c:pt>
                <c:pt idx="152">
                  <c:v>64.8362072922563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61F-4F8C-8040-ED76FB7F1E1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E$122:$E$274</c:f>
              <c:numCache>
                <c:formatCode>General</c:formatCode>
                <c:ptCount val="153"/>
                <c:pt idx="122">
                  <c:v>21.99458359471824</c:v>
                </c:pt>
                <c:pt idx="123">
                  <c:v>22.950869837966859</c:v>
                </c:pt>
                <c:pt idx="124">
                  <c:v>24.098413329865203</c:v>
                </c:pt>
                <c:pt idx="125">
                  <c:v>25.245956821763546</c:v>
                </c:pt>
                <c:pt idx="126">
                  <c:v>26.584757562311612</c:v>
                </c:pt>
                <c:pt idx="127">
                  <c:v>27.923558302859679</c:v>
                </c:pt>
                <c:pt idx="128">
                  <c:v>29.644873540707191</c:v>
                </c:pt>
                <c:pt idx="129">
                  <c:v>31.174931529904985</c:v>
                </c:pt>
                <c:pt idx="130">
                  <c:v>32.704989519102774</c:v>
                </c:pt>
                <c:pt idx="131">
                  <c:v>34.426304756950287</c:v>
                </c:pt>
                <c:pt idx="132">
                  <c:v>36.147619994797807</c:v>
                </c:pt>
                <c:pt idx="133">
                  <c:v>38.06019248129504</c:v>
                </c:pt>
                <c:pt idx="134">
                  <c:v>40.164022216442007</c:v>
                </c:pt>
                <c:pt idx="135">
                  <c:v>42.267851951588959</c:v>
                </c:pt>
                <c:pt idx="136">
                  <c:v>44.371681686735926</c:v>
                </c:pt>
                <c:pt idx="137">
                  <c:v>46.666768670532619</c:v>
                </c:pt>
                <c:pt idx="138">
                  <c:v>48.961855654329291</c:v>
                </c:pt>
                <c:pt idx="139">
                  <c:v>51.639457135425438</c:v>
                </c:pt>
                <c:pt idx="140">
                  <c:v>54.317058616521571</c:v>
                </c:pt>
                <c:pt idx="141">
                  <c:v>56.994660097617704</c:v>
                </c:pt>
                <c:pt idx="142">
                  <c:v>59.863518827363556</c:v>
                </c:pt>
                <c:pt idx="143">
                  <c:v>62.923634805759136</c:v>
                </c:pt>
                <c:pt idx="144">
                  <c:v>66.175008032804442</c:v>
                </c:pt>
                <c:pt idx="145">
                  <c:v>69.617638508499482</c:v>
                </c:pt>
                <c:pt idx="146">
                  <c:v>73.060268984194494</c:v>
                </c:pt>
                <c:pt idx="147">
                  <c:v>76.694156708539253</c:v>
                </c:pt>
                <c:pt idx="148">
                  <c:v>80.519301681533733</c:v>
                </c:pt>
                <c:pt idx="149">
                  <c:v>84.535703903177918</c:v>
                </c:pt>
                <c:pt idx="150">
                  <c:v>88.934620622121585</c:v>
                </c:pt>
                <c:pt idx="151">
                  <c:v>93.333537341065238</c:v>
                </c:pt>
                <c:pt idx="152">
                  <c:v>98.114968557308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61F-4F8C-8040-ED76FB7F1E1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F$122:$F$274</c:f>
              <c:numCache>
                <c:formatCode>General</c:formatCode>
                <c:ptCount val="153"/>
                <c:pt idx="122">
                  <c:v>22.185840843367963</c:v>
                </c:pt>
                <c:pt idx="123">
                  <c:v>23.33338433526631</c:v>
                </c:pt>
                <c:pt idx="124">
                  <c:v>24.672185075814372</c:v>
                </c:pt>
                <c:pt idx="125">
                  <c:v>26.010985816362439</c:v>
                </c:pt>
                <c:pt idx="126">
                  <c:v>27.732301054209952</c:v>
                </c:pt>
                <c:pt idx="127">
                  <c:v>29.644873540707191</c:v>
                </c:pt>
                <c:pt idx="128">
                  <c:v>31.939960524503878</c:v>
                </c:pt>
                <c:pt idx="129">
                  <c:v>34.043790259650841</c:v>
                </c:pt>
                <c:pt idx="130">
                  <c:v>36.338877243447527</c:v>
                </c:pt>
                <c:pt idx="131">
                  <c:v>38.82522147589394</c:v>
                </c:pt>
                <c:pt idx="132">
                  <c:v>41.502822956990073</c:v>
                </c:pt>
                <c:pt idx="133">
                  <c:v>44.180424438086199</c:v>
                </c:pt>
                <c:pt idx="134">
                  <c:v>47.049283167832058</c:v>
                </c:pt>
                <c:pt idx="135">
                  <c:v>50.109399146227638</c:v>
                </c:pt>
                <c:pt idx="136">
                  <c:v>53.360772373272951</c:v>
                </c:pt>
                <c:pt idx="137">
                  <c:v>56.80340284896797</c:v>
                </c:pt>
                <c:pt idx="138">
                  <c:v>60.43729057331273</c:v>
                </c:pt>
                <c:pt idx="139">
                  <c:v>64.262435546307202</c:v>
                </c:pt>
                <c:pt idx="140">
                  <c:v>68.470095016601135</c:v>
                </c:pt>
                <c:pt idx="141">
                  <c:v>72.869011735544774</c:v>
                </c:pt>
                <c:pt idx="142">
                  <c:v>77.459185703138147</c:v>
                </c:pt>
                <c:pt idx="143">
                  <c:v>82.431874168030973</c:v>
                </c:pt>
                <c:pt idx="144">
                  <c:v>87.787077130223238</c:v>
                </c:pt>
                <c:pt idx="145">
                  <c:v>93.524794589714944</c:v>
                </c:pt>
                <c:pt idx="146">
                  <c:v>99.645026546506102</c:v>
                </c:pt>
                <c:pt idx="147">
                  <c:v>106.14777300059673</c:v>
                </c:pt>
                <c:pt idx="148">
                  <c:v>113.03303395198678</c:v>
                </c:pt>
                <c:pt idx="149">
                  <c:v>120.30080940067629</c:v>
                </c:pt>
                <c:pt idx="150">
                  <c:v>127.95109934666525</c:v>
                </c:pt>
                <c:pt idx="151">
                  <c:v>136.17516103860336</c:v>
                </c:pt>
                <c:pt idx="152">
                  <c:v>144.781737227840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C61F-4F8C-8040-ED76FB7F1E10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4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G$122:$G$274</c:f>
              <c:numCache>
                <c:formatCode>General</c:formatCode>
                <c:ptCount val="153"/>
                <c:pt idx="122">
                  <c:v>22.185840843367963</c:v>
                </c:pt>
                <c:pt idx="123">
                  <c:v>23.33338433526631</c:v>
                </c:pt>
                <c:pt idx="124">
                  <c:v>24.672185075814372</c:v>
                </c:pt>
                <c:pt idx="125">
                  <c:v>26.010985816362439</c:v>
                </c:pt>
                <c:pt idx="126">
                  <c:v>27.732301054209952</c:v>
                </c:pt>
                <c:pt idx="127">
                  <c:v>29.644873540707191</c:v>
                </c:pt>
                <c:pt idx="128">
                  <c:v>31.939960524503878</c:v>
                </c:pt>
                <c:pt idx="129">
                  <c:v>34.043790259650841</c:v>
                </c:pt>
                <c:pt idx="130">
                  <c:v>36.338877243447527</c:v>
                </c:pt>
                <c:pt idx="131">
                  <c:v>38.82522147589394</c:v>
                </c:pt>
                <c:pt idx="132">
                  <c:v>41.502822956990073</c:v>
                </c:pt>
                <c:pt idx="133">
                  <c:v>44.754196184035379</c:v>
                </c:pt>
                <c:pt idx="134">
                  <c:v>48.388083908380125</c:v>
                </c:pt>
                <c:pt idx="135">
                  <c:v>52.404486130024324</c:v>
                </c:pt>
                <c:pt idx="136">
                  <c:v>56.80340284896797</c:v>
                </c:pt>
                <c:pt idx="137">
                  <c:v>61.584834065211069</c:v>
                </c:pt>
                <c:pt idx="138">
                  <c:v>67.131294276053069</c:v>
                </c:pt>
                <c:pt idx="139">
                  <c:v>73.442783481493947</c:v>
                </c:pt>
                <c:pt idx="140">
                  <c:v>80.136787184234279</c:v>
                </c:pt>
                <c:pt idx="141">
                  <c:v>87.404562632923785</c:v>
                </c:pt>
                <c:pt idx="142">
                  <c:v>95.246109827562464</c:v>
                </c:pt>
                <c:pt idx="143">
                  <c:v>103.85268601680004</c:v>
                </c:pt>
                <c:pt idx="144">
                  <c:v>113.41554844928622</c:v>
                </c:pt>
                <c:pt idx="145">
                  <c:v>123.93469712502103</c:v>
                </c:pt>
                <c:pt idx="146">
                  <c:v>135.21887479535474</c:v>
                </c:pt>
                <c:pt idx="147">
                  <c:v>147.45933870893708</c:v>
                </c:pt>
                <c:pt idx="148">
                  <c:v>160.65608886576803</c:v>
                </c:pt>
                <c:pt idx="149">
                  <c:v>175.19163976314701</c:v>
                </c:pt>
                <c:pt idx="150">
                  <c:v>191.25724864972383</c:v>
                </c:pt>
                <c:pt idx="151">
                  <c:v>208.6616582768487</c:v>
                </c:pt>
                <c:pt idx="152">
                  <c:v>227.40486864452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C61F-4F8C-8040-ED76FB7F1E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B$244:$B$427</c:f>
              <c:numCache>
                <c:formatCode>0</c:formatCode>
                <c:ptCount val="184"/>
                <c:pt idx="0">
                  <c:v>102</c:v>
                </c:pt>
                <c:pt idx="1">
                  <c:v>16</c:v>
                </c:pt>
                <c:pt idx="2">
                  <c:v>79</c:v>
                </c:pt>
                <c:pt idx="3">
                  <c:v>174</c:v>
                </c:pt>
                <c:pt idx="4">
                  <c:v>154</c:v>
                </c:pt>
                <c:pt idx="5">
                  <c:v>108</c:v>
                </c:pt>
                <c:pt idx="6">
                  <c:v>181</c:v>
                </c:pt>
                <c:pt idx="7">
                  <c:v>42</c:v>
                </c:pt>
                <c:pt idx="8">
                  <c:v>23</c:v>
                </c:pt>
                <c:pt idx="9">
                  <c:v>62</c:v>
                </c:pt>
                <c:pt idx="10">
                  <c:v>118</c:v>
                </c:pt>
                <c:pt idx="11">
                  <c:v>73</c:v>
                </c:pt>
                <c:pt idx="12">
                  <c:v>79</c:v>
                </c:pt>
                <c:pt idx="13">
                  <c:v>75</c:v>
                </c:pt>
                <c:pt idx="14">
                  <c:v>42</c:v>
                </c:pt>
                <c:pt idx="15">
                  <c:v>4</c:v>
                </c:pt>
                <c:pt idx="16">
                  <c:v>47</c:v>
                </c:pt>
                <c:pt idx="17">
                  <c:v>58</c:v>
                </c:pt>
                <c:pt idx="18">
                  <c:v>46</c:v>
                </c:pt>
                <c:pt idx="19">
                  <c:v>45</c:v>
                </c:pt>
                <c:pt idx="20">
                  <c:v>44</c:v>
                </c:pt>
                <c:pt idx="21">
                  <c:v>11</c:v>
                </c:pt>
                <c:pt idx="22">
                  <c:v>5</c:v>
                </c:pt>
                <c:pt idx="23">
                  <c:v>28</c:v>
                </c:pt>
                <c:pt idx="24">
                  <c:v>14</c:v>
                </c:pt>
                <c:pt idx="25">
                  <c:v>48</c:v>
                </c:pt>
                <c:pt idx="26">
                  <c:v>33</c:v>
                </c:pt>
                <c:pt idx="27">
                  <c:v>27</c:v>
                </c:pt>
                <c:pt idx="28">
                  <c:v>5</c:v>
                </c:pt>
                <c:pt idx="29">
                  <c:v>3</c:v>
                </c:pt>
                <c:pt idx="30">
                  <c:v>22</c:v>
                </c:pt>
                <c:pt idx="31">
                  <c:v>14</c:v>
                </c:pt>
                <c:pt idx="32">
                  <c:v>11</c:v>
                </c:pt>
                <c:pt idx="33">
                  <c:v>14</c:v>
                </c:pt>
                <c:pt idx="34">
                  <c:v>14</c:v>
                </c:pt>
                <c:pt idx="35">
                  <c:v>2</c:v>
                </c:pt>
                <c:pt idx="36">
                  <c:v>1</c:v>
                </c:pt>
                <c:pt idx="37">
                  <c:v>17</c:v>
                </c:pt>
                <c:pt idx="38">
                  <c:v>22</c:v>
                </c:pt>
                <c:pt idx="39">
                  <c:v>8</c:v>
                </c:pt>
                <c:pt idx="40">
                  <c:v>14</c:v>
                </c:pt>
                <c:pt idx="41">
                  <c:v>10</c:v>
                </c:pt>
                <c:pt idx="42">
                  <c:v>0</c:v>
                </c:pt>
                <c:pt idx="43">
                  <c:v>0</c:v>
                </c:pt>
                <c:pt idx="44">
                  <c:v>8</c:v>
                </c:pt>
                <c:pt idx="45">
                  <c:v>11</c:v>
                </c:pt>
                <c:pt idx="46">
                  <c:v>6</c:v>
                </c:pt>
                <c:pt idx="47">
                  <c:v>3</c:v>
                </c:pt>
                <c:pt idx="48">
                  <c:v>3</c:v>
                </c:pt>
                <c:pt idx="49">
                  <c:v>7</c:v>
                </c:pt>
                <c:pt idx="50">
                  <c:v>0</c:v>
                </c:pt>
                <c:pt idx="51">
                  <c:v>2</c:v>
                </c:pt>
                <c:pt idx="52">
                  <c:v>5</c:v>
                </c:pt>
                <c:pt idx="53">
                  <c:v>0</c:v>
                </c:pt>
                <c:pt idx="54">
                  <c:v>0</c:v>
                </c:pt>
                <c:pt idx="55">
                  <c:v>3</c:v>
                </c:pt>
                <c:pt idx="56">
                  <c:v>0</c:v>
                </c:pt>
                <c:pt idx="57">
                  <c:v>0</c:v>
                </c:pt>
                <c:pt idx="58">
                  <c:v>3</c:v>
                </c:pt>
                <c:pt idx="59">
                  <c:v>5</c:v>
                </c:pt>
                <c:pt idx="60">
                  <c:v>0</c:v>
                </c:pt>
                <c:pt idx="61">
                  <c:v>3</c:v>
                </c:pt>
                <c:pt idx="62">
                  <c:v>4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3</c:v>
                </c:pt>
                <c:pt idx="67">
                  <c:v>19</c:v>
                </c:pt>
                <c:pt idx="68">
                  <c:v>15</c:v>
                </c:pt>
                <c:pt idx="69">
                  <c:v>9</c:v>
                </c:pt>
                <c:pt idx="70">
                  <c:v>8</c:v>
                </c:pt>
                <c:pt idx="71">
                  <c:v>0</c:v>
                </c:pt>
                <c:pt idx="72">
                  <c:v>9</c:v>
                </c:pt>
                <c:pt idx="73">
                  <c:v>12</c:v>
                </c:pt>
                <c:pt idx="74">
                  <c:v>13</c:v>
                </c:pt>
                <c:pt idx="75">
                  <c:v>3</c:v>
                </c:pt>
                <c:pt idx="76">
                  <c:v>5</c:v>
                </c:pt>
                <c:pt idx="77">
                  <c:v>5</c:v>
                </c:pt>
                <c:pt idx="78">
                  <c:v>0</c:v>
                </c:pt>
                <c:pt idx="79">
                  <c:v>1</c:v>
                </c:pt>
                <c:pt idx="80">
                  <c:v>12</c:v>
                </c:pt>
                <c:pt idx="81">
                  <c:v>8</c:v>
                </c:pt>
                <c:pt idx="82">
                  <c:v>3</c:v>
                </c:pt>
                <c:pt idx="83">
                  <c:v>6</c:v>
                </c:pt>
                <c:pt idx="84">
                  <c:v>1</c:v>
                </c:pt>
                <c:pt idx="85">
                  <c:v>1</c:v>
                </c:pt>
                <c:pt idx="86">
                  <c:v>4</c:v>
                </c:pt>
                <c:pt idx="87">
                  <c:v>15</c:v>
                </c:pt>
                <c:pt idx="88">
                  <c:v>4</c:v>
                </c:pt>
                <c:pt idx="89">
                  <c:v>5</c:v>
                </c:pt>
                <c:pt idx="90">
                  <c:v>6</c:v>
                </c:pt>
                <c:pt idx="91">
                  <c:v>6</c:v>
                </c:pt>
                <c:pt idx="92">
                  <c:v>5</c:v>
                </c:pt>
                <c:pt idx="93">
                  <c:v>5</c:v>
                </c:pt>
                <c:pt idx="94">
                  <c:v>13</c:v>
                </c:pt>
                <c:pt idx="95">
                  <c:v>13</c:v>
                </c:pt>
                <c:pt idx="96">
                  <c:v>9</c:v>
                </c:pt>
                <c:pt idx="97">
                  <c:v>9</c:v>
                </c:pt>
                <c:pt idx="98">
                  <c:v>8</c:v>
                </c:pt>
                <c:pt idx="99">
                  <c:v>1</c:v>
                </c:pt>
                <c:pt idx="100">
                  <c:v>11</c:v>
                </c:pt>
                <c:pt idx="101">
                  <c:v>20</c:v>
                </c:pt>
                <c:pt idx="102">
                  <c:v>10</c:v>
                </c:pt>
                <c:pt idx="103">
                  <c:v>7</c:v>
                </c:pt>
                <c:pt idx="104">
                  <c:v>6</c:v>
                </c:pt>
                <c:pt idx="105">
                  <c:v>2</c:v>
                </c:pt>
                <c:pt idx="106">
                  <c:v>2</c:v>
                </c:pt>
                <c:pt idx="107">
                  <c:v>14</c:v>
                </c:pt>
                <c:pt idx="108">
                  <c:v>16</c:v>
                </c:pt>
                <c:pt idx="109">
                  <c:v>9</c:v>
                </c:pt>
                <c:pt idx="110">
                  <c:v>4</c:v>
                </c:pt>
                <c:pt idx="111">
                  <c:v>3</c:v>
                </c:pt>
                <c:pt idx="112">
                  <c:v>5</c:v>
                </c:pt>
                <c:pt idx="113">
                  <c:v>0</c:v>
                </c:pt>
                <c:pt idx="114">
                  <c:v>4</c:v>
                </c:pt>
                <c:pt idx="115">
                  <c:v>10</c:v>
                </c:pt>
                <c:pt idx="116">
                  <c:v>19</c:v>
                </c:pt>
                <c:pt idx="117">
                  <c:v>8</c:v>
                </c:pt>
                <c:pt idx="118">
                  <c:v>7</c:v>
                </c:pt>
                <c:pt idx="119">
                  <c:v>1</c:v>
                </c:pt>
                <c:pt idx="120">
                  <c:v>2</c:v>
                </c:pt>
                <c:pt idx="121">
                  <c:v>3</c:v>
                </c:pt>
                <c:pt idx="122">
                  <c:v>16</c:v>
                </c:pt>
                <c:pt idx="123">
                  <c:v>13</c:v>
                </c:pt>
                <c:pt idx="124">
                  <c:v>9</c:v>
                </c:pt>
                <c:pt idx="125">
                  <c:v>16</c:v>
                </c:pt>
                <c:pt idx="126">
                  <c:v>3</c:v>
                </c:pt>
                <c:pt idx="127">
                  <c:v>4</c:v>
                </c:pt>
                <c:pt idx="128">
                  <c:v>16</c:v>
                </c:pt>
                <c:pt idx="129">
                  <c:v>13</c:v>
                </c:pt>
                <c:pt idx="130">
                  <c:v>32</c:v>
                </c:pt>
                <c:pt idx="131">
                  <c:v>11</c:v>
                </c:pt>
                <c:pt idx="132">
                  <c:v>25</c:v>
                </c:pt>
                <c:pt idx="133">
                  <c:v>8</c:v>
                </c:pt>
                <c:pt idx="134">
                  <c:v>2</c:v>
                </c:pt>
                <c:pt idx="135">
                  <c:v>19</c:v>
                </c:pt>
                <c:pt idx="136">
                  <c:v>12</c:v>
                </c:pt>
                <c:pt idx="137">
                  <c:v>11</c:v>
                </c:pt>
                <c:pt idx="138">
                  <c:v>12</c:v>
                </c:pt>
                <c:pt idx="139">
                  <c:v>18</c:v>
                </c:pt>
                <c:pt idx="140">
                  <c:v>7</c:v>
                </c:pt>
                <c:pt idx="141">
                  <c:v>3</c:v>
                </c:pt>
                <c:pt idx="142">
                  <c:v>8</c:v>
                </c:pt>
                <c:pt idx="143">
                  <c:v>23</c:v>
                </c:pt>
                <c:pt idx="144">
                  <c:v>16</c:v>
                </c:pt>
                <c:pt idx="145">
                  <c:v>8</c:v>
                </c:pt>
                <c:pt idx="146">
                  <c:v>18</c:v>
                </c:pt>
                <c:pt idx="147">
                  <c:v>17</c:v>
                </c:pt>
                <c:pt idx="148">
                  <c:v>9</c:v>
                </c:pt>
                <c:pt idx="149">
                  <c:v>20</c:v>
                </c:pt>
                <c:pt idx="150">
                  <c:v>14</c:v>
                </c:pt>
                <c:pt idx="151">
                  <c:v>13</c:v>
                </c:pt>
                <c:pt idx="152">
                  <c:v>21</c:v>
                </c:pt>
                <c:pt idx="153">
                  <c:v>28</c:v>
                </c:pt>
                <c:pt idx="154">
                  <c:v>12</c:v>
                </c:pt>
                <c:pt idx="155">
                  <c:v>7</c:v>
                </c:pt>
                <c:pt idx="156">
                  <c:v>26</c:v>
                </c:pt>
                <c:pt idx="157">
                  <c:v>32</c:v>
                </c:pt>
                <c:pt idx="158">
                  <c:v>37</c:v>
                </c:pt>
                <c:pt idx="159">
                  <c:v>32</c:v>
                </c:pt>
                <c:pt idx="160">
                  <c:v>31</c:v>
                </c:pt>
                <c:pt idx="161">
                  <c:v>10</c:v>
                </c:pt>
                <c:pt idx="162">
                  <c:v>4</c:v>
                </c:pt>
                <c:pt idx="163">
                  <c:v>32</c:v>
                </c:pt>
                <c:pt idx="164">
                  <c:v>36</c:v>
                </c:pt>
                <c:pt idx="165">
                  <c:v>52</c:v>
                </c:pt>
                <c:pt idx="166">
                  <c:v>41</c:v>
                </c:pt>
                <c:pt idx="167">
                  <c:v>112</c:v>
                </c:pt>
                <c:pt idx="168">
                  <c:v>30</c:v>
                </c:pt>
                <c:pt idx="169">
                  <c:v>12</c:v>
                </c:pt>
                <c:pt idx="170">
                  <c:v>91</c:v>
                </c:pt>
                <c:pt idx="171">
                  <c:v>113</c:v>
                </c:pt>
                <c:pt idx="172">
                  <c:v>112</c:v>
                </c:pt>
                <c:pt idx="173">
                  <c:v>105</c:v>
                </c:pt>
                <c:pt idx="174">
                  <c:v>205</c:v>
                </c:pt>
                <c:pt idx="175">
                  <c:v>102</c:v>
                </c:pt>
                <c:pt idx="176">
                  <c:v>34</c:v>
                </c:pt>
                <c:pt idx="177">
                  <c:v>135</c:v>
                </c:pt>
                <c:pt idx="178">
                  <c:v>3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E56-48BE-B88E-F8A8C486AC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C$244:$C$427</c:f>
              <c:numCache>
                <c:formatCode>General</c:formatCode>
                <c:ptCount val="18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E56-48BE-B88E-F8A8C486AC3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D$244:$D$427</c:f>
              <c:numCache>
                <c:formatCode>General</c:formatCode>
                <c:ptCount val="184"/>
                <c:pt idx="73">
                  <c:v>0</c:v>
                </c:pt>
                <c:pt idx="153">
                  <c:v>22</c:v>
                </c:pt>
                <c:pt idx="154">
                  <c:v>23</c:v>
                </c:pt>
                <c:pt idx="155">
                  <c:v>24</c:v>
                </c:pt>
                <c:pt idx="156">
                  <c:v>25</c:v>
                </c:pt>
                <c:pt idx="157">
                  <c:v>26</c:v>
                </c:pt>
                <c:pt idx="158">
                  <c:v>27</c:v>
                </c:pt>
                <c:pt idx="159">
                  <c:v>28</c:v>
                </c:pt>
                <c:pt idx="160">
                  <c:v>29</c:v>
                </c:pt>
                <c:pt idx="161">
                  <c:v>30</c:v>
                </c:pt>
                <c:pt idx="162">
                  <c:v>31</c:v>
                </c:pt>
                <c:pt idx="163">
                  <c:v>33</c:v>
                </c:pt>
                <c:pt idx="164">
                  <c:v>34</c:v>
                </c:pt>
                <c:pt idx="165">
                  <c:v>35</c:v>
                </c:pt>
                <c:pt idx="166">
                  <c:v>36</c:v>
                </c:pt>
                <c:pt idx="167">
                  <c:v>38</c:v>
                </c:pt>
                <c:pt idx="168">
                  <c:v>39</c:v>
                </c:pt>
                <c:pt idx="169">
                  <c:v>40</c:v>
                </c:pt>
                <c:pt idx="170">
                  <c:v>42</c:v>
                </c:pt>
                <c:pt idx="171">
                  <c:v>43</c:v>
                </c:pt>
                <c:pt idx="172">
                  <c:v>45</c:v>
                </c:pt>
                <c:pt idx="173">
                  <c:v>47</c:v>
                </c:pt>
                <c:pt idx="174">
                  <c:v>48</c:v>
                </c:pt>
                <c:pt idx="175">
                  <c:v>50</c:v>
                </c:pt>
                <c:pt idx="176">
                  <c:v>52</c:v>
                </c:pt>
                <c:pt idx="177">
                  <c:v>54</c:v>
                </c:pt>
                <c:pt idx="178">
                  <c:v>56</c:v>
                </c:pt>
                <c:pt idx="179">
                  <c:v>58</c:v>
                </c:pt>
                <c:pt idx="180">
                  <c:v>60</c:v>
                </c:pt>
                <c:pt idx="181">
                  <c:v>62</c:v>
                </c:pt>
                <c:pt idx="182">
                  <c:v>64</c:v>
                </c:pt>
                <c:pt idx="183">
                  <c:v>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E56-48BE-B88E-F8A8C486AC3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E$244:$E$427</c:f>
              <c:numCache>
                <c:formatCode>General</c:formatCode>
                <c:ptCount val="184"/>
                <c:pt idx="153">
                  <c:v>23</c:v>
                </c:pt>
                <c:pt idx="154">
                  <c:v>25</c:v>
                </c:pt>
                <c:pt idx="155">
                  <c:v>26</c:v>
                </c:pt>
                <c:pt idx="156">
                  <c:v>27</c:v>
                </c:pt>
                <c:pt idx="157">
                  <c:v>28</c:v>
                </c:pt>
                <c:pt idx="158">
                  <c:v>30</c:v>
                </c:pt>
                <c:pt idx="159">
                  <c:v>32</c:v>
                </c:pt>
                <c:pt idx="160">
                  <c:v>33</c:v>
                </c:pt>
                <c:pt idx="161">
                  <c:v>35</c:v>
                </c:pt>
                <c:pt idx="162">
                  <c:v>37</c:v>
                </c:pt>
                <c:pt idx="163">
                  <c:v>39</c:v>
                </c:pt>
                <c:pt idx="164">
                  <c:v>41</c:v>
                </c:pt>
                <c:pt idx="165">
                  <c:v>43</c:v>
                </c:pt>
                <c:pt idx="166">
                  <c:v>45</c:v>
                </c:pt>
                <c:pt idx="167">
                  <c:v>47</c:v>
                </c:pt>
                <c:pt idx="168">
                  <c:v>50</c:v>
                </c:pt>
                <c:pt idx="169">
                  <c:v>52</c:v>
                </c:pt>
                <c:pt idx="170">
                  <c:v>55</c:v>
                </c:pt>
                <c:pt idx="171">
                  <c:v>58</c:v>
                </c:pt>
                <c:pt idx="172">
                  <c:v>61</c:v>
                </c:pt>
                <c:pt idx="173">
                  <c:v>64</c:v>
                </c:pt>
                <c:pt idx="174">
                  <c:v>67</c:v>
                </c:pt>
                <c:pt idx="175">
                  <c:v>71</c:v>
                </c:pt>
                <c:pt idx="176">
                  <c:v>74</c:v>
                </c:pt>
                <c:pt idx="177">
                  <c:v>78</c:v>
                </c:pt>
                <c:pt idx="178">
                  <c:v>82</c:v>
                </c:pt>
                <c:pt idx="179">
                  <c:v>86</c:v>
                </c:pt>
                <c:pt idx="180">
                  <c:v>90</c:v>
                </c:pt>
                <c:pt idx="181">
                  <c:v>95</c:v>
                </c:pt>
                <c:pt idx="182">
                  <c:v>100</c:v>
                </c:pt>
                <c:pt idx="183">
                  <c:v>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E56-48BE-B88E-F8A8C486AC37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F$244:$F$427</c:f>
              <c:numCache>
                <c:formatCode>General</c:formatCode>
                <c:ptCount val="184"/>
                <c:pt idx="153">
                  <c:v>24</c:v>
                </c:pt>
                <c:pt idx="154">
                  <c:v>26</c:v>
                </c:pt>
                <c:pt idx="155">
                  <c:v>28</c:v>
                </c:pt>
                <c:pt idx="156">
                  <c:v>29</c:v>
                </c:pt>
                <c:pt idx="157">
                  <c:v>31</c:v>
                </c:pt>
                <c:pt idx="158">
                  <c:v>33</c:v>
                </c:pt>
                <c:pt idx="159">
                  <c:v>35</c:v>
                </c:pt>
                <c:pt idx="160">
                  <c:v>38</c:v>
                </c:pt>
                <c:pt idx="161">
                  <c:v>40</c:v>
                </c:pt>
                <c:pt idx="162">
                  <c:v>43</c:v>
                </c:pt>
                <c:pt idx="163">
                  <c:v>45</c:v>
                </c:pt>
                <c:pt idx="164">
                  <c:v>49</c:v>
                </c:pt>
                <c:pt idx="165">
                  <c:v>52</c:v>
                </c:pt>
                <c:pt idx="166">
                  <c:v>55</c:v>
                </c:pt>
                <c:pt idx="167">
                  <c:v>59</c:v>
                </c:pt>
                <c:pt idx="168">
                  <c:v>63</c:v>
                </c:pt>
                <c:pt idx="169">
                  <c:v>67</c:v>
                </c:pt>
                <c:pt idx="170">
                  <c:v>71</c:v>
                </c:pt>
                <c:pt idx="171">
                  <c:v>76</c:v>
                </c:pt>
                <c:pt idx="172">
                  <c:v>81</c:v>
                </c:pt>
                <c:pt idx="173">
                  <c:v>86</c:v>
                </c:pt>
                <c:pt idx="174">
                  <c:v>91</c:v>
                </c:pt>
                <c:pt idx="175">
                  <c:v>97</c:v>
                </c:pt>
                <c:pt idx="176">
                  <c:v>103</c:v>
                </c:pt>
                <c:pt idx="177">
                  <c:v>110</c:v>
                </c:pt>
                <c:pt idx="178">
                  <c:v>117</c:v>
                </c:pt>
                <c:pt idx="179">
                  <c:v>125</c:v>
                </c:pt>
                <c:pt idx="180">
                  <c:v>133</c:v>
                </c:pt>
                <c:pt idx="181">
                  <c:v>141</c:v>
                </c:pt>
                <c:pt idx="182">
                  <c:v>150</c:v>
                </c:pt>
                <c:pt idx="183">
                  <c:v>1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E56-48BE-B88E-F8A8C486AC37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4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G$244:$G$427</c:f>
              <c:numCache>
                <c:formatCode>General</c:formatCode>
                <c:ptCount val="184"/>
                <c:pt idx="153">
                  <c:v>24</c:v>
                </c:pt>
                <c:pt idx="154">
                  <c:v>26</c:v>
                </c:pt>
                <c:pt idx="155">
                  <c:v>28</c:v>
                </c:pt>
                <c:pt idx="156">
                  <c:v>29</c:v>
                </c:pt>
                <c:pt idx="157">
                  <c:v>31</c:v>
                </c:pt>
                <c:pt idx="158">
                  <c:v>33</c:v>
                </c:pt>
                <c:pt idx="159">
                  <c:v>35</c:v>
                </c:pt>
                <c:pt idx="160">
                  <c:v>38</c:v>
                </c:pt>
                <c:pt idx="161">
                  <c:v>40</c:v>
                </c:pt>
                <c:pt idx="162">
                  <c:v>43</c:v>
                </c:pt>
                <c:pt idx="163">
                  <c:v>45</c:v>
                </c:pt>
                <c:pt idx="164">
                  <c:v>52</c:v>
                </c:pt>
                <c:pt idx="165">
                  <c:v>57</c:v>
                </c:pt>
                <c:pt idx="166">
                  <c:v>62</c:v>
                </c:pt>
                <c:pt idx="167">
                  <c:v>66</c:v>
                </c:pt>
                <c:pt idx="168">
                  <c:v>72</c:v>
                </c:pt>
                <c:pt idx="169">
                  <c:v>79</c:v>
                </c:pt>
                <c:pt idx="170">
                  <c:v>87</c:v>
                </c:pt>
                <c:pt idx="171">
                  <c:v>95</c:v>
                </c:pt>
                <c:pt idx="172">
                  <c:v>104</c:v>
                </c:pt>
                <c:pt idx="173">
                  <c:v>112</c:v>
                </c:pt>
                <c:pt idx="174">
                  <c:v>122</c:v>
                </c:pt>
                <c:pt idx="175">
                  <c:v>134</c:v>
                </c:pt>
                <c:pt idx="176">
                  <c:v>147</c:v>
                </c:pt>
                <c:pt idx="177">
                  <c:v>160</c:v>
                </c:pt>
                <c:pt idx="178">
                  <c:v>174</c:v>
                </c:pt>
                <c:pt idx="179">
                  <c:v>190</c:v>
                </c:pt>
                <c:pt idx="180">
                  <c:v>207</c:v>
                </c:pt>
                <c:pt idx="181">
                  <c:v>226</c:v>
                </c:pt>
                <c:pt idx="182">
                  <c:v>247</c:v>
                </c:pt>
                <c:pt idx="183">
                  <c:v>2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E56-48BE-B88E-F8A8C486AC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H$122:$H$274</c:f>
              <c:numCache>
                <c:formatCode>0</c:formatCode>
                <c:ptCount val="15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6E-4170-BCEC-F1AE53DCC955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I$122:$I$274</c:f>
              <c:numCache>
                <c:formatCode>0</c:formatCode>
                <c:ptCount val="153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A6E-4170-BCEC-F1AE53DCC9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B$122:$B$274</c:f>
              <c:numCache>
                <c:formatCode>0</c:formatCode>
                <c:ptCount val="153"/>
                <c:pt idx="0">
                  <c:v>29.871160966253449</c:v>
                </c:pt>
                <c:pt idx="1">
                  <c:v>22.599891520520703</c:v>
                </c:pt>
                <c:pt idx="2">
                  <c:v>18.865996399739021</c:v>
                </c:pt>
                <c:pt idx="3">
                  <c:v>16.311226053941027</c:v>
                </c:pt>
                <c:pt idx="4">
                  <c:v>15.721663666449183</c:v>
                </c:pt>
                <c:pt idx="5">
                  <c:v>15.328622074787955</c:v>
                </c:pt>
                <c:pt idx="6">
                  <c:v>14.346018095634879</c:v>
                </c:pt>
                <c:pt idx="7">
                  <c:v>15.918184462279799</c:v>
                </c:pt>
                <c:pt idx="8">
                  <c:v>15.328622074787955</c:v>
                </c:pt>
                <c:pt idx="9">
                  <c:v>15.328622074787955</c:v>
                </c:pt>
                <c:pt idx="10">
                  <c:v>14.542538891465496</c:v>
                </c:pt>
                <c:pt idx="11">
                  <c:v>14.149497299804267</c:v>
                </c:pt>
                <c:pt idx="12">
                  <c:v>13.95297650397365</c:v>
                </c:pt>
                <c:pt idx="13">
                  <c:v>12.184289341498117</c:v>
                </c:pt>
                <c:pt idx="14">
                  <c:v>10.022560587361355</c:v>
                </c:pt>
                <c:pt idx="15">
                  <c:v>9.6295189957001242</c:v>
                </c:pt>
                <c:pt idx="16">
                  <c:v>7.4677902415633621</c:v>
                </c:pt>
                <c:pt idx="17">
                  <c:v>6.0921446707490583</c:v>
                </c:pt>
                <c:pt idx="18">
                  <c:v>7.4677902415633621</c:v>
                </c:pt>
                <c:pt idx="19">
                  <c:v>7.4677902415633621</c:v>
                </c:pt>
                <c:pt idx="20">
                  <c:v>6.2886654665796735</c:v>
                </c:pt>
                <c:pt idx="21">
                  <c:v>5.1095406915959849</c:v>
                </c:pt>
                <c:pt idx="22">
                  <c:v>3.9304159166122958</c:v>
                </c:pt>
                <c:pt idx="23">
                  <c:v>3.3408535291204511</c:v>
                </c:pt>
                <c:pt idx="24">
                  <c:v>3.3408535291204511</c:v>
                </c:pt>
                <c:pt idx="25">
                  <c:v>1.9652079583061479</c:v>
                </c:pt>
                <c:pt idx="26">
                  <c:v>1.9652079583061479</c:v>
                </c:pt>
                <c:pt idx="27">
                  <c:v>2.1617287541367629</c:v>
                </c:pt>
                <c:pt idx="28">
                  <c:v>2.1617287541367629</c:v>
                </c:pt>
                <c:pt idx="29">
                  <c:v>2.1617287541367629</c:v>
                </c:pt>
                <c:pt idx="30">
                  <c:v>2.7512911416286072</c:v>
                </c:pt>
                <c:pt idx="31">
                  <c:v>2.947811937459222</c:v>
                </c:pt>
                <c:pt idx="32">
                  <c:v>3.3408535291204511</c:v>
                </c:pt>
                <c:pt idx="33">
                  <c:v>3.7338951207816811</c:v>
                </c:pt>
                <c:pt idx="34">
                  <c:v>3.5373743249510667</c:v>
                </c:pt>
                <c:pt idx="35">
                  <c:v>3.1443327332898368</c:v>
                </c:pt>
                <c:pt idx="36">
                  <c:v>6.8782278540715183</c:v>
                </c:pt>
                <c:pt idx="37">
                  <c:v>9.2364774040388955</c:v>
                </c:pt>
                <c:pt idx="38">
                  <c:v>10.21908138319197</c:v>
                </c:pt>
                <c:pt idx="39">
                  <c:v>11.398206158175659</c:v>
                </c:pt>
                <c:pt idx="40">
                  <c:v>11.005164566514429</c:v>
                </c:pt>
                <c:pt idx="41">
                  <c:v>12.380810137328734</c:v>
                </c:pt>
                <c:pt idx="42">
                  <c:v>14.149497299804267</c:v>
                </c:pt>
                <c:pt idx="43">
                  <c:v>12.970372524820576</c:v>
                </c:pt>
                <c:pt idx="44">
                  <c:v>10.612122974853198</c:v>
                </c:pt>
                <c:pt idx="45">
                  <c:v>9.8260397915307394</c:v>
                </c:pt>
                <c:pt idx="46">
                  <c:v>9.2364774040388955</c:v>
                </c:pt>
                <c:pt idx="47">
                  <c:v>9.2364774040388955</c:v>
                </c:pt>
                <c:pt idx="48">
                  <c:v>7.6643110373939773</c:v>
                </c:pt>
                <c:pt idx="49">
                  <c:v>7.6643110373939773</c:v>
                </c:pt>
                <c:pt idx="50">
                  <c:v>6.6817070582409022</c:v>
                </c:pt>
                <c:pt idx="51">
                  <c:v>6.6817070582409022</c:v>
                </c:pt>
                <c:pt idx="52">
                  <c:v>6.8782278540715183</c:v>
                </c:pt>
                <c:pt idx="53">
                  <c:v>6.0921446707490583</c:v>
                </c:pt>
                <c:pt idx="54">
                  <c:v>6.2886654665796735</c:v>
                </c:pt>
                <c:pt idx="55">
                  <c:v>6.8782278540715183</c:v>
                </c:pt>
                <c:pt idx="56">
                  <c:v>7.4677902415633621</c:v>
                </c:pt>
                <c:pt idx="57">
                  <c:v>6.6817070582409022</c:v>
                </c:pt>
                <c:pt idx="58">
                  <c:v>7.0747486499021335</c:v>
                </c:pt>
                <c:pt idx="59">
                  <c:v>7.0747486499021335</c:v>
                </c:pt>
                <c:pt idx="60">
                  <c:v>8.057352629055206</c:v>
                </c:pt>
                <c:pt idx="61">
                  <c:v>8.8434358123776668</c:v>
                </c:pt>
                <c:pt idx="62">
                  <c:v>9.0399566082082803</c:v>
                </c:pt>
                <c:pt idx="63">
                  <c:v>8.6469150165470516</c:v>
                </c:pt>
                <c:pt idx="64">
                  <c:v>10.415602179022585</c:v>
                </c:pt>
                <c:pt idx="65">
                  <c:v>11.201685362345042</c:v>
                </c:pt>
                <c:pt idx="66">
                  <c:v>11.791247749836888</c:v>
                </c:pt>
                <c:pt idx="67">
                  <c:v>12.184289341498117</c:v>
                </c:pt>
                <c:pt idx="68">
                  <c:v>11.398206158175659</c:v>
                </c:pt>
                <c:pt idx="69">
                  <c:v>12.577330933159347</c:v>
                </c:pt>
                <c:pt idx="70">
                  <c:v>13.95297650397365</c:v>
                </c:pt>
                <c:pt idx="71">
                  <c:v>13.363414116481804</c:v>
                </c:pt>
                <c:pt idx="72">
                  <c:v>12.970372524820576</c:v>
                </c:pt>
                <c:pt idx="73">
                  <c:v>12.380810137328734</c:v>
                </c:pt>
                <c:pt idx="74">
                  <c:v>11.201685362345042</c:v>
                </c:pt>
                <c:pt idx="75">
                  <c:v>11.398206158175659</c:v>
                </c:pt>
                <c:pt idx="76">
                  <c:v>11.987768545667503</c:v>
                </c:pt>
                <c:pt idx="77">
                  <c:v>11.201685362345042</c:v>
                </c:pt>
                <c:pt idx="78">
                  <c:v>11.005164566514429</c:v>
                </c:pt>
                <c:pt idx="79">
                  <c:v>10.415602179022585</c:v>
                </c:pt>
                <c:pt idx="80">
                  <c:v>9.8260397915307394</c:v>
                </c:pt>
                <c:pt idx="81">
                  <c:v>10.415602179022585</c:v>
                </c:pt>
                <c:pt idx="82">
                  <c:v>10.022560587361355</c:v>
                </c:pt>
                <c:pt idx="83">
                  <c:v>8.057352629055206</c:v>
                </c:pt>
                <c:pt idx="84">
                  <c:v>6.8782278540715183</c:v>
                </c:pt>
                <c:pt idx="85">
                  <c:v>8.8434358123776668</c:v>
                </c:pt>
                <c:pt idx="86">
                  <c:v>9.6295189957001242</c:v>
                </c:pt>
                <c:pt idx="87">
                  <c:v>10.415602179022585</c:v>
                </c:pt>
                <c:pt idx="88">
                  <c:v>9.6295189957001242</c:v>
                </c:pt>
                <c:pt idx="89">
                  <c:v>10.022560587361355</c:v>
                </c:pt>
                <c:pt idx="90">
                  <c:v>9.8260397915307394</c:v>
                </c:pt>
                <c:pt idx="91">
                  <c:v>11.005164566514429</c:v>
                </c:pt>
                <c:pt idx="92">
                  <c:v>9.8260397915307394</c:v>
                </c:pt>
                <c:pt idx="93">
                  <c:v>10.022560587361355</c:v>
                </c:pt>
                <c:pt idx="94">
                  <c:v>11.791247749836888</c:v>
                </c:pt>
                <c:pt idx="95">
                  <c:v>12.184289341498117</c:v>
                </c:pt>
                <c:pt idx="96">
                  <c:v>12.577330933159347</c:v>
                </c:pt>
                <c:pt idx="97">
                  <c:v>15.132101278957338</c:v>
                </c:pt>
                <c:pt idx="98">
                  <c:v>14.542538891465496</c:v>
                </c:pt>
                <c:pt idx="99">
                  <c:v>18.276434012247176</c:v>
                </c:pt>
                <c:pt idx="100">
                  <c:v>18.669475603908406</c:v>
                </c:pt>
                <c:pt idx="101">
                  <c:v>20.43816276638394</c:v>
                </c:pt>
                <c:pt idx="102">
                  <c:v>21.420766745537016</c:v>
                </c:pt>
                <c:pt idx="103">
                  <c:v>21.027725153875782</c:v>
                </c:pt>
                <c:pt idx="104">
                  <c:v>21.617287541367627</c:v>
                </c:pt>
                <c:pt idx="105">
                  <c:v>21.420766745537016</c:v>
                </c:pt>
                <c:pt idx="106">
                  <c:v>17.293830033094103</c:v>
                </c:pt>
                <c:pt idx="107">
                  <c:v>17.490350828924715</c:v>
                </c:pt>
                <c:pt idx="108">
                  <c:v>16.114705258110412</c:v>
                </c:pt>
                <c:pt idx="109">
                  <c:v>15.918184462279799</c:v>
                </c:pt>
                <c:pt idx="110">
                  <c:v>16.114705258110412</c:v>
                </c:pt>
                <c:pt idx="111">
                  <c:v>13.95297650397365</c:v>
                </c:pt>
                <c:pt idx="112">
                  <c:v>16.114705258110412</c:v>
                </c:pt>
                <c:pt idx="113">
                  <c:v>17.097309237263488</c:v>
                </c:pt>
                <c:pt idx="114">
                  <c:v>16.311226053941027</c:v>
                </c:pt>
                <c:pt idx="115">
                  <c:v>16.311226053941027</c:v>
                </c:pt>
                <c:pt idx="116">
                  <c:v>18.276434012247176</c:v>
                </c:pt>
                <c:pt idx="117">
                  <c:v>19.455558787230864</c:v>
                </c:pt>
                <c:pt idx="118">
                  <c:v>21.813808337198243</c:v>
                </c:pt>
                <c:pt idx="119">
                  <c:v>20.045121174722709</c:v>
                </c:pt>
                <c:pt idx="120">
                  <c:v>19.455558787230864</c:v>
                </c:pt>
                <c:pt idx="121">
                  <c:v>22.010329133028858</c:v>
                </c:pt>
                <c:pt idx="122">
                  <c:v>23.975537091335006</c:v>
                </c:pt>
                <c:pt idx="123">
                  <c:v>22.99293311218193</c:v>
                </c:pt>
                <c:pt idx="124">
                  <c:v>22.599891520520703</c:v>
                </c:pt>
                <c:pt idx="125">
                  <c:v>23.779016295504391</c:v>
                </c:pt>
                <c:pt idx="126">
                  <c:v>27.316390620455458</c:v>
                </c:pt>
                <c:pt idx="127">
                  <c:v>32.032889720390216</c:v>
                </c:pt>
                <c:pt idx="128">
                  <c:v>34.194618474526976</c:v>
                </c:pt>
                <c:pt idx="129">
                  <c:v>34.784180862018815</c:v>
                </c:pt>
                <c:pt idx="130">
                  <c:v>34.391139270357591</c:v>
                </c:pt>
                <c:pt idx="131">
                  <c:v>33.801576882865746</c:v>
                </c:pt>
                <c:pt idx="132">
                  <c:v>34.98070165784943</c:v>
                </c:pt>
                <c:pt idx="133">
                  <c:v>35.766784841171891</c:v>
                </c:pt>
                <c:pt idx="134">
                  <c:v>38.714596778631112</c:v>
                </c:pt>
                <c:pt idx="135">
                  <c:v>40.483283941106649</c:v>
                </c:pt>
                <c:pt idx="136">
                  <c:v>56.401468403386446</c:v>
                </c:pt>
                <c:pt idx="137">
                  <c:v>60.331884319998743</c:v>
                </c:pt>
                <c:pt idx="138">
                  <c:v>61.904050686643657</c:v>
                </c:pt>
                <c:pt idx="139">
                  <c:v>73.498777640649934</c:v>
                </c:pt>
                <c:pt idx="140">
                  <c:v>88.630878919607269</c:v>
                </c:pt>
                <c:pt idx="141">
                  <c:v>100.42212666944415</c:v>
                </c:pt>
                <c:pt idx="142">
                  <c:v>112.99945760260351</c:v>
                </c:pt>
                <c:pt idx="143">
                  <c:v>131.27589161485068</c:v>
                </c:pt>
                <c:pt idx="144">
                  <c:v>145.42538891465495</c:v>
                </c:pt>
                <c:pt idx="145">
                  <c:v>149.74884642292847</c:v>
                </c:pt>
                <c:pt idx="146">
                  <c:v>158.39576143947554</c:v>
                </c:pt>
                <c:pt idx="147">
                  <c:v>197.50339980976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A6E-4170-BCEC-F1AE53DCC9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C$122:$C$274</c:f>
              <c:numCache>
                <c:formatCode>General</c:formatCode>
                <c:ptCount val="15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A6E-4170-BCEC-F1AE53DCC95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1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D$122:$D$274</c:f>
              <c:numCache>
                <c:formatCode>General</c:formatCode>
                <c:ptCount val="153"/>
                <c:pt idx="122">
                  <c:v>22.206849928859473</c:v>
                </c:pt>
                <c:pt idx="123">
                  <c:v>23.189453908012545</c:v>
                </c:pt>
                <c:pt idx="124">
                  <c:v>23.975537091335006</c:v>
                </c:pt>
                <c:pt idx="125">
                  <c:v>24.761620274657467</c:v>
                </c:pt>
                <c:pt idx="126">
                  <c:v>25.744224253810536</c:v>
                </c:pt>
                <c:pt idx="127">
                  <c:v>26.726828232963609</c:v>
                </c:pt>
                <c:pt idx="128">
                  <c:v>27.9059530079473</c:v>
                </c:pt>
                <c:pt idx="129">
                  <c:v>28.888556987100376</c:v>
                </c:pt>
                <c:pt idx="130">
                  <c:v>29.871160966253449</c:v>
                </c:pt>
                <c:pt idx="131">
                  <c:v>31.05028574123714</c:v>
                </c:pt>
                <c:pt idx="132">
                  <c:v>32.229410516220824</c:v>
                </c:pt>
                <c:pt idx="133">
                  <c:v>33.408535291204515</c:v>
                </c:pt>
                <c:pt idx="134">
                  <c:v>34.587660066188207</c:v>
                </c:pt>
                <c:pt idx="135">
                  <c:v>35.766784841171891</c:v>
                </c:pt>
                <c:pt idx="136">
                  <c:v>37.142430411986197</c:v>
                </c:pt>
                <c:pt idx="137">
                  <c:v>38.518075982800497</c:v>
                </c:pt>
                <c:pt idx="138">
                  <c:v>39.893721553614803</c:v>
                </c:pt>
                <c:pt idx="139">
                  <c:v>41.465887920259725</c:v>
                </c:pt>
                <c:pt idx="140">
                  <c:v>43.038054286904639</c:v>
                </c:pt>
                <c:pt idx="141">
                  <c:v>44.610220653549561</c:v>
                </c:pt>
                <c:pt idx="142">
                  <c:v>46.182387020194476</c:v>
                </c:pt>
                <c:pt idx="143">
                  <c:v>47.951074182670013</c:v>
                </c:pt>
                <c:pt idx="144">
                  <c:v>49.719761345145542</c:v>
                </c:pt>
                <c:pt idx="145">
                  <c:v>51.684969303451695</c:v>
                </c:pt>
                <c:pt idx="146">
                  <c:v>53.453656465927217</c:v>
                </c:pt>
                <c:pt idx="147">
                  <c:v>55.418864424233369</c:v>
                </c:pt>
                <c:pt idx="148">
                  <c:v>57.384072382539514</c:v>
                </c:pt>
                <c:pt idx="149">
                  <c:v>59.545801136676289</c:v>
                </c:pt>
                <c:pt idx="150">
                  <c:v>61.707529890813049</c:v>
                </c:pt>
                <c:pt idx="151">
                  <c:v>63.869258644949809</c:v>
                </c:pt>
                <c:pt idx="152">
                  <c:v>66.030987399086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A6E-4170-BCEC-F1AE53DCC95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E$122:$E$274</c:f>
              <c:numCache>
                <c:formatCode>General</c:formatCode>
                <c:ptCount val="153"/>
                <c:pt idx="122">
                  <c:v>22.403370724690085</c:v>
                </c:pt>
                <c:pt idx="123">
                  <c:v>23.582495499673776</c:v>
                </c:pt>
                <c:pt idx="124">
                  <c:v>24.761620274657467</c:v>
                </c:pt>
                <c:pt idx="125">
                  <c:v>25.940745049641151</c:v>
                </c:pt>
                <c:pt idx="126">
                  <c:v>27.316390620455458</c:v>
                </c:pt>
                <c:pt idx="127">
                  <c:v>28.692036191269757</c:v>
                </c:pt>
                <c:pt idx="128">
                  <c:v>30.264202557914675</c:v>
                </c:pt>
                <c:pt idx="129">
                  <c:v>31.836368924559597</c:v>
                </c:pt>
                <c:pt idx="130">
                  <c:v>33.408535291204515</c:v>
                </c:pt>
                <c:pt idx="131">
                  <c:v>35.177222453680045</c:v>
                </c:pt>
                <c:pt idx="132">
                  <c:v>36.945909616155582</c:v>
                </c:pt>
                <c:pt idx="133">
                  <c:v>38.911117574461727</c:v>
                </c:pt>
                <c:pt idx="134">
                  <c:v>40.876325532767879</c:v>
                </c:pt>
                <c:pt idx="135">
                  <c:v>43.038054286904639</c:v>
                </c:pt>
                <c:pt idx="136">
                  <c:v>45.199783041041407</c:v>
                </c:pt>
                <c:pt idx="137">
                  <c:v>47.558032591008782</c:v>
                </c:pt>
                <c:pt idx="138">
                  <c:v>49.916282140976151</c:v>
                </c:pt>
                <c:pt idx="139">
                  <c:v>52.471052486774148</c:v>
                </c:pt>
                <c:pt idx="140">
                  <c:v>55.025822832572146</c:v>
                </c:pt>
                <c:pt idx="141">
                  <c:v>57.97363477003136</c:v>
                </c:pt>
                <c:pt idx="142">
                  <c:v>60.921446707490581</c:v>
                </c:pt>
                <c:pt idx="143">
                  <c:v>64.065779440780432</c:v>
                </c:pt>
                <c:pt idx="144">
                  <c:v>67.406632969900869</c:v>
                </c:pt>
                <c:pt idx="145">
                  <c:v>70.747486499021335</c:v>
                </c:pt>
                <c:pt idx="146">
                  <c:v>74.284860823972394</c:v>
                </c:pt>
                <c:pt idx="147">
                  <c:v>78.215276740584699</c:v>
                </c:pt>
                <c:pt idx="148">
                  <c:v>82.145692657196989</c:v>
                </c:pt>
                <c:pt idx="149">
                  <c:v>86.272629369639901</c:v>
                </c:pt>
                <c:pt idx="150">
                  <c:v>90.596086877913422</c:v>
                </c:pt>
                <c:pt idx="151">
                  <c:v>95.116065182017564</c:v>
                </c:pt>
                <c:pt idx="152">
                  <c:v>100.029085077782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A6E-4170-BCEC-F1AE53DCC95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F$122:$F$274</c:f>
              <c:numCache>
                <c:formatCode>General</c:formatCode>
                <c:ptCount val="153"/>
                <c:pt idx="122">
                  <c:v>22.403370724690085</c:v>
                </c:pt>
                <c:pt idx="123">
                  <c:v>23.779016295504391</c:v>
                </c:pt>
                <c:pt idx="124">
                  <c:v>25.154661866318694</c:v>
                </c:pt>
                <c:pt idx="125">
                  <c:v>26.530307437133001</c:v>
                </c:pt>
                <c:pt idx="126">
                  <c:v>28.298994599608534</c:v>
                </c:pt>
                <c:pt idx="127">
                  <c:v>30.067681762084064</c:v>
                </c:pt>
                <c:pt idx="128">
                  <c:v>32.229410516220824</c:v>
                </c:pt>
                <c:pt idx="129">
                  <c:v>34.391139270357591</c:v>
                </c:pt>
                <c:pt idx="130">
                  <c:v>36.552868024494352</c:v>
                </c:pt>
                <c:pt idx="131">
                  <c:v>38.911117574461727</c:v>
                </c:pt>
                <c:pt idx="132">
                  <c:v>41.465887920259725</c:v>
                </c:pt>
                <c:pt idx="133">
                  <c:v>44.217179061888331</c:v>
                </c:pt>
                <c:pt idx="134">
                  <c:v>47.361511795178167</c:v>
                </c:pt>
                <c:pt idx="135">
                  <c:v>50.50584452846801</c:v>
                </c:pt>
                <c:pt idx="136">
                  <c:v>53.846698057588455</c:v>
                </c:pt>
                <c:pt idx="137">
                  <c:v>57.384072382539514</c:v>
                </c:pt>
                <c:pt idx="138">
                  <c:v>61.117967503321204</c:v>
                </c:pt>
                <c:pt idx="139">
                  <c:v>65.244904215764109</c:v>
                </c:pt>
                <c:pt idx="140">
                  <c:v>69.568361724037629</c:v>
                </c:pt>
                <c:pt idx="141">
                  <c:v>74.088340028141772</c:v>
                </c:pt>
                <c:pt idx="142">
                  <c:v>79.001359923907145</c:v>
                </c:pt>
                <c:pt idx="143">
                  <c:v>84.110900615503127</c:v>
                </c:pt>
                <c:pt idx="144">
                  <c:v>89.613482898760338</c:v>
                </c:pt>
                <c:pt idx="145">
                  <c:v>95.509106773678795</c:v>
                </c:pt>
                <c:pt idx="146">
                  <c:v>101.60125144442786</c:v>
                </c:pt>
                <c:pt idx="147">
                  <c:v>108.08643770683814</c:v>
                </c:pt>
                <c:pt idx="148">
                  <c:v>114.96466556090965</c:v>
                </c:pt>
                <c:pt idx="149">
                  <c:v>122.23593500664241</c:v>
                </c:pt>
                <c:pt idx="150">
                  <c:v>130.09676683986697</c:v>
                </c:pt>
                <c:pt idx="151">
                  <c:v>138.54716106058342</c:v>
                </c:pt>
                <c:pt idx="152">
                  <c:v>147.390596872961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DA6E-4170-BCEC-F1AE53DCC955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4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G$122:$G$274</c:f>
              <c:numCache>
                <c:formatCode>General</c:formatCode>
                <c:ptCount val="153"/>
                <c:pt idx="122">
                  <c:v>22.403370724690085</c:v>
                </c:pt>
                <c:pt idx="123">
                  <c:v>23.779016295504391</c:v>
                </c:pt>
                <c:pt idx="124">
                  <c:v>25.154661866318694</c:v>
                </c:pt>
                <c:pt idx="125">
                  <c:v>26.530307437133001</c:v>
                </c:pt>
                <c:pt idx="126">
                  <c:v>28.298994599608534</c:v>
                </c:pt>
                <c:pt idx="127">
                  <c:v>30.067681762084064</c:v>
                </c:pt>
                <c:pt idx="128">
                  <c:v>32.229410516220824</c:v>
                </c:pt>
                <c:pt idx="129">
                  <c:v>34.391139270357591</c:v>
                </c:pt>
                <c:pt idx="130">
                  <c:v>36.552868024494352</c:v>
                </c:pt>
                <c:pt idx="131">
                  <c:v>38.911117574461727</c:v>
                </c:pt>
                <c:pt idx="132">
                  <c:v>41.465887920259725</c:v>
                </c:pt>
                <c:pt idx="133">
                  <c:v>44.610220653549561</c:v>
                </c:pt>
                <c:pt idx="134">
                  <c:v>48.540636570161851</c:v>
                </c:pt>
                <c:pt idx="135">
                  <c:v>52.864094078435379</c:v>
                </c:pt>
                <c:pt idx="136">
                  <c:v>57.384072382539514</c:v>
                </c:pt>
                <c:pt idx="137">
                  <c:v>62.493613074135503</c:v>
                </c:pt>
                <c:pt idx="138">
                  <c:v>68.19271615322333</c:v>
                </c:pt>
                <c:pt idx="139">
                  <c:v>74.874423211464233</c:v>
                </c:pt>
                <c:pt idx="140">
                  <c:v>81.752651065535758</c:v>
                </c:pt>
                <c:pt idx="141">
                  <c:v>89.0239205112685</c:v>
                </c:pt>
                <c:pt idx="142">
                  <c:v>96.884752344493094</c:v>
                </c:pt>
                <c:pt idx="143">
                  <c:v>105.72818815687076</c:v>
                </c:pt>
                <c:pt idx="144">
                  <c:v>115.35770715257088</c:v>
                </c:pt>
                <c:pt idx="145">
                  <c:v>126.16635092325471</c:v>
                </c:pt>
                <c:pt idx="146">
                  <c:v>137.56455708143037</c:v>
                </c:pt>
                <c:pt idx="147">
                  <c:v>150.14188801458968</c:v>
                </c:pt>
                <c:pt idx="148">
                  <c:v>163.70182292690211</c:v>
                </c:pt>
                <c:pt idx="149">
                  <c:v>178.63740341002884</c:v>
                </c:pt>
                <c:pt idx="150">
                  <c:v>194.94862946396987</c:v>
                </c:pt>
                <c:pt idx="151">
                  <c:v>212.83202188455584</c:v>
                </c:pt>
                <c:pt idx="152">
                  <c:v>231.894539080125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DA6E-4170-BCEC-F1AE53DCC9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B$244:$B$427</c:f>
              <c:numCache>
                <c:formatCode>0</c:formatCode>
                <c:ptCount val="184"/>
                <c:pt idx="0">
                  <c:v>121</c:v>
                </c:pt>
                <c:pt idx="1">
                  <c:v>67</c:v>
                </c:pt>
                <c:pt idx="2">
                  <c:v>209</c:v>
                </c:pt>
                <c:pt idx="3">
                  <c:v>304</c:v>
                </c:pt>
                <c:pt idx="4">
                  <c:v>207</c:v>
                </c:pt>
                <c:pt idx="5">
                  <c:v>194</c:v>
                </c:pt>
                <c:pt idx="6">
                  <c:v>204</c:v>
                </c:pt>
                <c:pt idx="7">
                  <c:v>87</c:v>
                </c:pt>
                <c:pt idx="8">
                  <c:v>73</c:v>
                </c:pt>
                <c:pt idx="9">
                  <c:v>168</c:v>
                </c:pt>
                <c:pt idx="10">
                  <c:v>227</c:v>
                </c:pt>
                <c:pt idx="11">
                  <c:v>160</c:v>
                </c:pt>
                <c:pt idx="12">
                  <c:v>131</c:v>
                </c:pt>
                <c:pt idx="13">
                  <c:v>101</c:v>
                </c:pt>
                <c:pt idx="14">
                  <c:v>99</c:v>
                </c:pt>
                <c:pt idx="15">
                  <c:v>59</c:v>
                </c:pt>
                <c:pt idx="16">
                  <c:v>102</c:v>
                </c:pt>
                <c:pt idx="17">
                  <c:v>169</c:v>
                </c:pt>
                <c:pt idx="18">
                  <c:v>113</c:v>
                </c:pt>
                <c:pt idx="19">
                  <c:v>59</c:v>
                </c:pt>
                <c:pt idx="20">
                  <c:v>85</c:v>
                </c:pt>
                <c:pt idx="21">
                  <c:v>32</c:v>
                </c:pt>
                <c:pt idx="22">
                  <c:v>39</c:v>
                </c:pt>
                <c:pt idx="23">
                  <c:v>61</c:v>
                </c:pt>
                <c:pt idx="24">
                  <c:v>77</c:v>
                </c:pt>
                <c:pt idx="25">
                  <c:v>62</c:v>
                </c:pt>
                <c:pt idx="26">
                  <c:v>66</c:v>
                </c:pt>
                <c:pt idx="27">
                  <c:v>29</c:v>
                </c:pt>
                <c:pt idx="28">
                  <c:v>27</c:v>
                </c:pt>
                <c:pt idx="29">
                  <c:v>9</c:v>
                </c:pt>
                <c:pt idx="30">
                  <c:v>59</c:v>
                </c:pt>
                <c:pt idx="31">
                  <c:v>41</c:v>
                </c:pt>
                <c:pt idx="32">
                  <c:v>45</c:v>
                </c:pt>
                <c:pt idx="33">
                  <c:v>32</c:v>
                </c:pt>
                <c:pt idx="34">
                  <c:v>32</c:v>
                </c:pt>
                <c:pt idx="35">
                  <c:v>17</c:v>
                </c:pt>
                <c:pt idx="36">
                  <c:v>5</c:v>
                </c:pt>
                <c:pt idx="37">
                  <c:v>25</c:v>
                </c:pt>
                <c:pt idx="38">
                  <c:v>36</c:v>
                </c:pt>
                <c:pt idx="39">
                  <c:v>20</c:v>
                </c:pt>
                <c:pt idx="40">
                  <c:v>20</c:v>
                </c:pt>
                <c:pt idx="41">
                  <c:v>18</c:v>
                </c:pt>
                <c:pt idx="42">
                  <c:v>12</c:v>
                </c:pt>
                <c:pt idx="43">
                  <c:v>6</c:v>
                </c:pt>
                <c:pt idx="44">
                  <c:v>12</c:v>
                </c:pt>
                <c:pt idx="45">
                  <c:v>11</c:v>
                </c:pt>
                <c:pt idx="46">
                  <c:v>15</c:v>
                </c:pt>
                <c:pt idx="47">
                  <c:v>6</c:v>
                </c:pt>
                <c:pt idx="48">
                  <c:v>18</c:v>
                </c:pt>
                <c:pt idx="49">
                  <c:v>0</c:v>
                </c:pt>
                <c:pt idx="50">
                  <c:v>5</c:v>
                </c:pt>
                <c:pt idx="51">
                  <c:v>10</c:v>
                </c:pt>
                <c:pt idx="52">
                  <c:v>12</c:v>
                </c:pt>
                <c:pt idx="53">
                  <c:v>9</c:v>
                </c:pt>
                <c:pt idx="54">
                  <c:v>8</c:v>
                </c:pt>
                <c:pt idx="55">
                  <c:v>9</c:v>
                </c:pt>
                <c:pt idx="56">
                  <c:v>4</c:v>
                </c:pt>
                <c:pt idx="57">
                  <c:v>6</c:v>
                </c:pt>
                <c:pt idx="58">
                  <c:v>13</c:v>
                </c:pt>
                <c:pt idx="59">
                  <c:v>11</c:v>
                </c:pt>
                <c:pt idx="60">
                  <c:v>5</c:v>
                </c:pt>
                <c:pt idx="61">
                  <c:v>9</c:v>
                </c:pt>
                <c:pt idx="62">
                  <c:v>6</c:v>
                </c:pt>
                <c:pt idx="63">
                  <c:v>11</c:v>
                </c:pt>
                <c:pt idx="64">
                  <c:v>4</c:v>
                </c:pt>
                <c:pt idx="65">
                  <c:v>5</c:v>
                </c:pt>
                <c:pt idx="66">
                  <c:v>3</c:v>
                </c:pt>
                <c:pt idx="67">
                  <c:v>13</c:v>
                </c:pt>
                <c:pt idx="68">
                  <c:v>10</c:v>
                </c:pt>
                <c:pt idx="69">
                  <c:v>16</c:v>
                </c:pt>
                <c:pt idx="70">
                  <c:v>5</c:v>
                </c:pt>
                <c:pt idx="71">
                  <c:v>2</c:v>
                </c:pt>
                <c:pt idx="72">
                  <c:v>13</c:v>
                </c:pt>
                <c:pt idx="73">
                  <c:v>9</c:v>
                </c:pt>
                <c:pt idx="74">
                  <c:v>20</c:v>
                </c:pt>
                <c:pt idx="75">
                  <c:v>13</c:v>
                </c:pt>
                <c:pt idx="76">
                  <c:v>11</c:v>
                </c:pt>
                <c:pt idx="77">
                  <c:v>7</c:v>
                </c:pt>
                <c:pt idx="78">
                  <c:v>2</c:v>
                </c:pt>
                <c:pt idx="79">
                  <c:v>15</c:v>
                </c:pt>
                <c:pt idx="80">
                  <c:v>14</c:v>
                </c:pt>
                <c:pt idx="81">
                  <c:v>14</c:v>
                </c:pt>
                <c:pt idx="82">
                  <c:v>18</c:v>
                </c:pt>
                <c:pt idx="83">
                  <c:v>9</c:v>
                </c:pt>
                <c:pt idx="84">
                  <c:v>15</c:v>
                </c:pt>
                <c:pt idx="85">
                  <c:v>9</c:v>
                </c:pt>
                <c:pt idx="86">
                  <c:v>17</c:v>
                </c:pt>
                <c:pt idx="87">
                  <c:v>19</c:v>
                </c:pt>
                <c:pt idx="88">
                  <c:v>13</c:v>
                </c:pt>
                <c:pt idx="89">
                  <c:v>12</c:v>
                </c:pt>
                <c:pt idx="90">
                  <c:v>14</c:v>
                </c:pt>
                <c:pt idx="91">
                  <c:v>6</c:v>
                </c:pt>
                <c:pt idx="92">
                  <c:v>4</c:v>
                </c:pt>
                <c:pt idx="93">
                  <c:v>14</c:v>
                </c:pt>
                <c:pt idx="94">
                  <c:v>22</c:v>
                </c:pt>
                <c:pt idx="95">
                  <c:v>28</c:v>
                </c:pt>
                <c:pt idx="96">
                  <c:v>20</c:v>
                </c:pt>
                <c:pt idx="97">
                  <c:v>18</c:v>
                </c:pt>
                <c:pt idx="98">
                  <c:v>9</c:v>
                </c:pt>
                <c:pt idx="99">
                  <c:v>6</c:v>
                </c:pt>
                <c:pt idx="100">
                  <c:v>19</c:v>
                </c:pt>
                <c:pt idx="101">
                  <c:v>12</c:v>
                </c:pt>
                <c:pt idx="102">
                  <c:v>27</c:v>
                </c:pt>
                <c:pt idx="103">
                  <c:v>13</c:v>
                </c:pt>
                <c:pt idx="104">
                  <c:v>19</c:v>
                </c:pt>
                <c:pt idx="105">
                  <c:v>13</c:v>
                </c:pt>
                <c:pt idx="106">
                  <c:v>1</c:v>
                </c:pt>
                <c:pt idx="107">
                  <c:v>18</c:v>
                </c:pt>
                <c:pt idx="108">
                  <c:v>26</c:v>
                </c:pt>
                <c:pt idx="109">
                  <c:v>18</c:v>
                </c:pt>
                <c:pt idx="110">
                  <c:v>11</c:v>
                </c:pt>
                <c:pt idx="111">
                  <c:v>14</c:v>
                </c:pt>
                <c:pt idx="112">
                  <c:v>7</c:v>
                </c:pt>
                <c:pt idx="113">
                  <c:v>8</c:v>
                </c:pt>
                <c:pt idx="114">
                  <c:v>33</c:v>
                </c:pt>
                <c:pt idx="115">
                  <c:v>26</c:v>
                </c:pt>
                <c:pt idx="116">
                  <c:v>25</c:v>
                </c:pt>
                <c:pt idx="117">
                  <c:v>26</c:v>
                </c:pt>
                <c:pt idx="118">
                  <c:v>17</c:v>
                </c:pt>
                <c:pt idx="119">
                  <c:v>10</c:v>
                </c:pt>
                <c:pt idx="120">
                  <c:v>3</c:v>
                </c:pt>
                <c:pt idx="121">
                  <c:v>18</c:v>
                </c:pt>
                <c:pt idx="122">
                  <c:v>26</c:v>
                </c:pt>
                <c:pt idx="123">
                  <c:v>42</c:v>
                </c:pt>
                <c:pt idx="124">
                  <c:v>32</c:v>
                </c:pt>
                <c:pt idx="125">
                  <c:v>33</c:v>
                </c:pt>
                <c:pt idx="126">
                  <c:v>27</c:v>
                </c:pt>
                <c:pt idx="127">
                  <c:v>21</c:v>
                </c:pt>
                <c:pt idx="128">
                  <c:v>54</c:v>
                </c:pt>
                <c:pt idx="129">
                  <c:v>47</c:v>
                </c:pt>
                <c:pt idx="130">
                  <c:v>31</c:v>
                </c:pt>
                <c:pt idx="131">
                  <c:v>47</c:v>
                </c:pt>
                <c:pt idx="132">
                  <c:v>49</c:v>
                </c:pt>
                <c:pt idx="133">
                  <c:v>23</c:v>
                </c:pt>
                <c:pt idx="134">
                  <c:v>13</c:v>
                </c:pt>
                <c:pt idx="135">
                  <c:v>54</c:v>
                </c:pt>
                <c:pt idx="136">
                  <c:v>55</c:v>
                </c:pt>
                <c:pt idx="137">
                  <c:v>56</c:v>
                </c:pt>
                <c:pt idx="138">
                  <c:v>65</c:v>
                </c:pt>
                <c:pt idx="139">
                  <c:v>53</c:v>
                </c:pt>
                <c:pt idx="140">
                  <c:v>32</c:v>
                </c:pt>
                <c:pt idx="141">
                  <c:v>16</c:v>
                </c:pt>
                <c:pt idx="142">
                  <c:v>46</c:v>
                </c:pt>
                <c:pt idx="143">
                  <c:v>49</c:v>
                </c:pt>
                <c:pt idx="144">
                  <c:v>47</c:v>
                </c:pt>
                <c:pt idx="145">
                  <c:v>53</c:v>
                </c:pt>
                <c:pt idx="146">
                  <c:v>64</c:v>
                </c:pt>
                <c:pt idx="147">
                  <c:v>48</c:v>
                </c:pt>
                <c:pt idx="148">
                  <c:v>33</c:v>
                </c:pt>
                <c:pt idx="149">
                  <c:v>98</c:v>
                </c:pt>
                <c:pt idx="150">
                  <c:v>50</c:v>
                </c:pt>
                <c:pt idx="151">
                  <c:v>122</c:v>
                </c:pt>
                <c:pt idx="152">
                  <c:v>133</c:v>
                </c:pt>
                <c:pt idx="153">
                  <c:v>75</c:v>
                </c:pt>
                <c:pt idx="154">
                  <c:v>76</c:v>
                </c:pt>
                <c:pt idx="155">
                  <c:v>37</c:v>
                </c:pt>
                <c:pt idx="156">
                  <c:v>111</c:v>
                </c:pt>
                <c:pt idx="157">
                  <c:v>123</c:v>
                </c:pt>
                <c:pt idx="158">
                  <c:v>131</c:v>
                </c:pt>
                <c:pt idx="159">
                  <c:v>106</c:v>
                </c:pt>
                <c:pt idx="160">
                  <c:v>143</c:v>
                </c:pt>
                <c:pt idx="161">
                  <c:v>63</c:v>
                </c:pt>
                <c:pt idx="162">
                  <c:v>42</c:v>
                </c:pt>
                <c:pt idx="163">
                  <c:v>184</c:v>
                </c:pt>
                <c:pt idx="164">
                  <c:v>161</c:v>
                </c:pt>
                <c:pt idx="165">
                  <c:v>157</c:v>
                </c:pt>
                <c:pt idx="166">
                  <c:v>210</c:v>
                </c:pt>
                <c:pt idx="167">
                  <c:v>174</c:v>
                </c:pt>
                <c:pt idx="168">
                  <c:v>144</c:v>
                </c:pt>
                <c:pt idx="169">
                  <c:v>122</c:v>
                </c:pt>
                <c:pt idx="170">
                  <c:v>328</c:v>
                </c:pt>
                <c:pt idx="171">
                  <c:v>355</c:v>
                </c:pt>
                <c:pt idx="172">
                  <c:v>419</c:v>
                </c:pt>
                <c:pt idx="173">
                  <c:v>463</c:v>
                </c:pt>
                <c:pt idx="174">
                  <c:v>609</c:v>
                </c:pt>
                <c:pt idx="175">
                  <c:v>330</c:v>
                </c:pt>
                <c:pt idx="176">
                  <c:v>284</c:v>
                </c:pt>
                <c:pt idx="177">
                  <c:v>689</c:v>
                </c:pt>
                <c:pt idx="178">
                  <c:v>8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0A-4733-AA2C-6A31356AE6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C$244:$C$427</c:f>
              <c:numCache>
                <c:formatCode>General</c:formatCode>
                <c:ptCount val="18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E0A-4733-AA2C-6A31356AE69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D$244:$D$427</c:f>
              <c:numCache>
                <c:formatCode>General</c:formatCode>
                <c:ptCount val="184"/>
                <c:pt idx="73">
                  <c:v>0</c:v>
                </c:pt>
                <c:pt idx="153">
                  <c:v>110</c:v>
                </c:pt>
                <c:pt idx="154">
                  <c:v>115</c:v>
                </c:pt>
                <c:pt idx="155">
                  <c:v>119</c:v>
                </c:pt>
                <c:pt idx="156">
                  <c:v>123</c:v>
                </c:pt>
                <c:pt idx="157">
                  <c:v>128</c:v>
                </c:pt>
                <c:pt idx="158">
                  <c:v>133</c:v>
                </c:pt>
                <c:pt idx="159">
                  <c:v>138</c:v>
                </c:pt>
                <c:pt idx="160">
                  <c:v>143</c:v>
                </c:pt>
                <c:pt idx="161">
                  <c:v>148</c:v>
                </c:pt>
                <c:pt idx="162">
                  <c:v>154</c:v>
                </c:pt>
                <c:pt idx="163">
                  <c:v>159</c:v>
                </c:pt>
                <c:pt idx="164">
                  <c:v>165</c:v>
                </c:pt>
                <c:pt idx="165">
                  <c:v>171</c:v>
                </c:pt>
                <c:pt idx="166">
                  <c:v>178</c:v>
                </c:pt>
                <c:pt idx="167">
                  <c:v>184</c:v>
                </c:pt>
                <c:pt idx="168">
                  <c:v>191</c:v>
                </c:pt>
                <c:pt idx="169">
                  <c:v>198</c:v>
                </c:pt>
                <c:pt idx="170">
                  <c:v>205</c:v>
                </c:pt>
                <c:pt idx="171">
                  <c:v>213</c:v>
                </c:pt>
                <c:pt idx="172">
                  <c:v>220</c:v>
                </c:pt>
                <c:pt idx="173">
                  <c:v>228</c:v>
                </c:pt>
                <c:pt idx="174">
                  <c:v>237</c:v>
                </c:pt>
                <c:pt idx="175">
                  <c:v>245</c:v>
                </c:pt>
                <c:pt idx="176">
                  <c:v>254</c:v>
                </c:pt>
                <c:pt idx="177">
                  <c:v>263</c:v>
                </c:pt>
                <c:pt idx="178">
                  <c:v>272</c:v>
                </c:pt>
                <c:pt idx="179">
                  <c:v>282</c:v>
                </c:pt>
                <c:pt idx="180">
                  <c:v>292</c:v>
                </c:pt>
                <c:pt idx="181">
                  <c:v>303</c:v>
                </c:pt>
                <c:pt idx="182">
                  <c:v>313</c:v>
                </c:pt>
                <c:pt idx="183">
                  <c:v>3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E0A-4733-AA2C-6A31356AE69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E$244:$E$427</c:f>
              <c:numCache>
                <c:formatCode>General</c:formatCode>
                <c:ptCount val="184"/>
                <c:pt idx="153">
                  <c:v>114</c:v>
                </c:pt>
                <c:pt idx="154">
                  <c:v>121</c:v>
                </c:pt>
                <c:pt idx="155">
                  <c:v>127</c:v>
                </c:pt>
                <c:pt idx="156">
                  <c:v>132</c:v>
                </c:pt>
                <c:pt idx="157">
                  <c:v>139</c:v>
                </c:pt>
                <c:pt idx="158">
                  <c:v>147</c:v>
                </c:pt>
                <c:pt idx="159">
                  <c:v>155</c:v>
                </c:pt>
                <c:pt idx="160">
                  <c:v>164</c:v>
                </c:pt>
                <c:pt idx="161">
                  <c:v>172</c:v>
                </c:pt>
                <c:pt idx="162">
                  <c:v>180</c:v>
                </c:pt>
                <c:pt idx="163">
                  <c:v>189</c:v>
                </c:pt>
                <c:pt idx="164">
                  <c:v>199</c:v>
                </c:pt>
                <c:pt idx="165">
                  <c:v>210</c:v>
                </c:pt>
                <c:pt idx="166">
                  <c:v>221</c:v>
                </c:pt>
                <c:pt idx="167">
                  <c:v>232</c:v>
                </c:pt>
                <c:pt idx="168">
                  <c:v>244</c:v>
                </c:pt>
                <c:pt idx="169">
                  <c:v>256</c:v>
                </c:pt>
                <c:pt idx="170">
                  <c:v>269</c:v>
                </c:pt>
                <c:pt idx="171">
                  <c:v>283</c:v>
                </c:pt>
                <c:pt idx="172">
                  <c:v>298</c:v>
                </c:pt>
                <c:pt idx="173">
                  <c:v>313</c:v>
                </c:pt>
                <c:pt idx="174">
                  <c:v>328</c:v>
                </c:pt>
                <c:pt idx="175">
                  <c:v>345</c:v>
                </c:pt>
                <c:pt idx="176">
                  <c:v>363</c:v>
                </c:pt>
                <c:pt idx="177">
                  <c:v>381</c:v>
                </c:pt>
                <c:pt idx="178">
                  <c:v>400</c:v>
                </c:pt>
                <c:pt idx="179">
                  <c:v>420</c:v>
                </c:pt>
                <c:pt idx="180">
                  <c:v>441</c:v>
                </c:pt>
                <c:pt idx="181">
                  <c:v>463</c:v>
                </c:pt>
                <c:pt idx="182">
                  <c:v>487</c:v>
                </c:pt>
                <c:pt idx="183">
                  <c:v>5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E0A-4733-AA2C-6A31356AE69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F$244:$F$427</c:f>
              <c:numCache>
                <c:formatCode>General</c:formatCode>
                <c:ptCount val="184"/>
                <c:pt idx="153">
                  <c:v>118</c:v>
                </c:pt>
                <c:pt idx="154">
                  <c:v>128</c:v>
                </c:pt>
                <c:pt idx="155">
                  <c:v>135</c:v>
                </c:pt>
                <c:pt idx="156">
                  <c:v>142</c:v>
                </c:pt>
                <c:pt idx="157">
                  <c:v>150</c:v>
                </c:pt>
                <c:pt idx="158">
                  <c:v>161</c:v>
                </c:pt>
                <c:pt idx="159">
                  <c:v>173</c:v>
                </c:pt>
                <c:pt idx="160">
                  <c:v>186</c:v>
                </c:pt>
                <c:pt idx="161">
                  <c:v>197</c:v>
                </c:pt>
                <c:pt idx="162">
                  <c:v>209</c:v>
                </c:pt>
                <c:pt idx="163">
                  <c:v>222</c:v>
                </c:pt>
                <c:pt idx="164">
                  <c:v>237</c:v>
                </c:pt>
                <c:pt idx="165">
                  <c:v>254</c:v>
                </c:pt>
                <c:pt idx="166">
                  <c:v>270</c:v>
                </c:pt>
                <c:pt idx="167">
                  <c:v>288</c:v>
                </c:pt>
                <c:pt idx="168">
                  <c:v>306</c:v>
                </c:pt>
                <c:pt idx="169">
                  <c:v>326</c:v>
                </c:pt>
                <c:pt idx="170">
                  <c:v>347</c:v>
                </c:pt>
                <c:pt idx="171">
                  <c:v>370</c:v>
                </c:pt>
                <c:pt idx="172">
                  <c:v>394</c:v>
                </c:pt>
                <c:pt idx="173">
                  <c:v>419</c:v>
                </c:pt>
                <c:pt idx="174">
                  <c:v>446</c:v>
                </c:pt>
                <c:pt idx="175">
                  <c:v>475</c:v>
                </c:pt>
                <c:pt idx="176">
                  <c:v>506</c:v>
                </c:pt>
                <c:pt idx="177">
                  <c:v>539</c:v>
                </c:pt>
                <c:pt idx="178">
                  <c:v>574</c:v>
                </c:pt>
                <c:pt idx="179">
                  <c:v>610</c:v>
                </c:pt>
                <c:pt idx="180">
                  <c:v>649</c:v>
                </c:pt>
                <c:pt idx="181">
                  <c:v>691</c:v>
                </c:pt>
                <c:pt idx="182">
                  <c:v>736</c:v>
                </c:pt>
                <c:pt idx="183">
                  <c:v>7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E0A-4733-AA2C-6A31356AE698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4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G$244:$G$427</c:f>
              <c:numCache>
                <c:formatCode>General</c:formatCode>
                <c:ptCount val="184"/>
                <c:pt idx="153">
                  <c:v>118</c:v>
                </c:pt>
                <c:pt idx="154">
                  <c:v>128</c:v>
                </c:pt>
                <c:pt idx="155">
                  <c:v>135</c:v>
                </c:pt>
                <c:pt idx="156">
                  <c:v>142</c:v>
                </c:pt>
                <c:pt idx="157">
                  <c:v>150</c:v>
                </c:pt>
                <c:pt idx="158">
                  <c:v>161</c:v>
                </c:pt>
                <c:pt idx="159">
                  <c:v>173</c:v>
                </c:pt>
                <c:pt idx="160">
                  <c:v>186</c:v>
                </c:pt>
                <c:pt idx="161">
                  <c:v>197</c:v>
                </c:pt>
                <c:pt idx="162">
                  <c:v>209</c:v>
                </c:pt>
                <c:pt idx="163">
                  <c:v>222</c:v>
                </c:pt>
                <c:pt idx="164">
                  <c:v>253</c:v>
                </c:pt>
                <c:pt idx="165">
                  <c:v>279</c:v>
                </c:pt>
                <c:pt idx="166">
                  <c:v>303</c:v>
                </c:pt>
                <c:pt idx="167">
                  <c:v>325</c:v>
                </c:pt>
                <c:pt idx="168">
                  <c:v>353</c:v>
                </c:pt>
                <c:pt idx="169">
                  <c:v>387</c:v>
                </c:pt>
                <c:pt idx="170">
                  <c:v>425</c:v>
                </c:pt>
                <c:pt idx="171">
                  <c:v>467</c:v>
                </c:pt>
                <c:pt idx="172">
                  <c:v>507</c:v>
                </c:pt>
                <c:pt idx="173">
                  <c:v>550</c:v>
                </c:pt>
                <c:pt idx="174">
                  <c:v>599</c:v>
                </c:pt>
                <c:pt idx="175">
                  <c:v>656</c:v>
                </c:pt>
                <c:pt idx="176">
                  <c:v>718</c:v>
                </c:pt>
                <c:pt idx="177">
                  <c:v>783</c:v>
                </c:pt>
                <c:pt idx="178">
                  <c:v>852</c:v>
                </c:pt>
                <c:pt idx="179">
                  <c:v>928</c:v>
                </c:pt>
                <c:pt idx="180">
                  <c:v>1012</c:v>
                </c:pt>
                <c:pt idx="181">
                  <c:v>1105</c:v>
                </c:pt>
                <c:pt idx="182">
                  <c:v>1206</c:v>
                </c:pt>
                <c:pt idx="183">
                  <c:v>13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E0A-4733-AA2C-6A31356AE6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H$122:$H$274</c:f>
              <c:numCache>
                <c:formatCode>0</c:formatCode>
                <c:ptCount val="15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0B-46F6-8F80-3F1CAA384018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I$122:$I$274</c:f>
              <c:numCache>
                <c:formatCode>0</c:formatCode>
                <c:ptCount val="153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0B-46F6-8F80-3F1CAA3840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B$122:$B$274</c:f>
              <c:numCache>
                <c:formatCode>0</c:formatCode>
                <c:ptCount val="153"/>
                <c:pt idx="0">
                  <c:v>24.512120951003368</c:v>
                </c:pt>
                <c:pt idx="1">
                  <c:v>23.089915981149929</c:v>
                </c:pt>
                <c:pt idx="2">
                  <c:v>20.245506041443054</c:v>
                </c:pt>
                <c:pt idx="3">
                  <c:v>20.496483389064249</c:v>
                </c:pt>
                <c:pt idx="4">
                  <c:v>19.659892230326932</c:v>
                </c:pt>
                <c:pt idx="5">
                  <c:v>19.325255766832004</c:v>
                </c:pt>
                <c:pt idx="6">
                  <c:v>16.48084582712513</c:v>
                </c:pt>
                <c:pt idx="7">
                  <c:v>16.062550247756473</c:v>
                </c:pt>
                <c:pt idx="8">
                  <c:v>13.971072350913181</c:v>
                </c:pt>
                <c:pt idx="9">
                  <c:v>12.9671629604284</c:v>
                </c:pt>
                <c:pt idx="10">
                  <c:v>11.795935338196159</c:v>
                </c:pt>
                <c:pt idx="11">
                  <c:v>11.377639758827501</c:v>
                </c:pt>
                <c:pt idx="12">
                  <c:v>11.461298874701232</c:v>
                </c:pt>
                <c:pt idx="13">
                  <c:v>10.373730368342722</c:v>
                </c:pt>
                <c:pt idx="14">
                  <c:v>8.2822524714994294</c:v>
                </c:pt>
                <c:pt idx="15">
                  <c:v>7.8639568921307736</c:v>
                </c:pt>
                <c:pt idx="16">
                  <c:v>6.6927292698985292</c:v>
                </c:pt>
                <c:pt idx="17">
                  <c:v>6.6927292698985292</c:v>
                </c:pt>
                <c:pt idx="18">
                  <c:v>5.6888198794137503</c:v>
                </c:pt>
                <c:pt idx="19">
                  <c:v>5.6051607635400194</c:v>
                </c:pt>
                <c:pt idx="20">
                  <c:v>5.4378425317925556</c:v>
                </c:pt>
                <c:pt idx="21">
                  <c:v>5.5215016476662875</c:v>
                </c:pt>
                <c:pt idx="22">
                  <c:v>5.019546952423898</c:v>
                </c:pt>
                <c:pt idx="23">
                  <c:v>5.1868651841713609</c:v>
                </c:pt>
                <c:pt idx="24">
                  <c:v>4.4339331413077758</c:v>
                </c:pt>
                <c:pt idx="25">
                  <c:v>4.7685696048027024</c:v>
                </c:pt>
                <c:pt idx="26">
                  <c:v>4.8522287206764343</c:v>
                </c:pt>
                <c:pt idx="27">
                  <c:v>5.103206068297629</c:v>
                </c:pt>
                <c:pt idx="28">
                  <c:v>5.019546952423898</c:v>
                </c:pt>
                <c:pt idx="29">
                  <c:v>4.6849104889289706</c:v>
                </c:pt>
                <c:pt idx="30">
                  <c:v>4.7685696048027024</c:v>
                </c:pt>
                <c:pt idx="31">
                  <c:v>4.5175922571815077</c:v>
                </c:pt>
                <c:pt idx="32">
                  <c:v>5.103206068297629</c:v>
                </c:pt>
                <c:pt idx="33">
                  <c:v>4.9358878365501653</c:v>
                </c:pt>
                <c:pt idx="34">
                  <c:v>4.266614909560313</c:v>
                </c:pt>
                <c:pt idx="35">
                  <c:v>3.5973419825704598</c:v>
                </c:pt>
                <c:pt idx="36">
                  <c:v>4.266614909560313</c:v>
                </c:pt>
                <c:pt idx="37">
                  <c:v>4.350274025434044</c:v>
                </c:pt>
                <c:pt idx="38">
                  <c:v>5.1868651841713609</c:v>
                </c:pt>
                <c:pt idx="39">
                  <c:v>4.6849104889289706</c:v>
                </c:pt>
                <c:pt idx="40">
                  <c:v>4.5175922571815077</c:v>
                </c:pt>
                <c:pt idx="41">
                  <c:v>5.1868651841713609</c:v>
                </c:pt>
                <c:pt idx="42">
                  <c:v>5.6888198794137503</c:v>
                </c:pt>
                <c:pt idx="43">
                  <c:v>6.2744336905298708</c:v>
                </c:pt>
                <c:pt idx="44">
                  <c:v>6.5254110381510664</c:v>
                </c:pt>
                <c:pt idx="45">
                  <c:v>6.1071154587824079</c:v>
                </c:pt>
                <c:pt idx="46">
                  <c:v>6.2744336905298708</c:v>
                </c:pt>
                <c:pt idx="47">
                  <c:v>6.2744336905298708</c:v>
                </c:pt>
                <c:pt idx="48">
                  <c:v>6.4417519222773354</c:v>
                </c:pt>
                <c:pt idx="49">
                  <c:v>6.8600475016459939</c:v>
                </c:pt>
                <c:pt idx="50">
                  <c:v>6.3580928064036035</c:v>
                </c:pt>
                <c:pt idx="51">
                  <c:v>6.7763883857722611</c:v>
                </c:pt>
                <c:pt idx="52">
                  <c:v>6.6090701540247982</c:v>
                </c:pt>
                <c:pt idx="53">
                  <c:v>7.2783430810146506</c:v>
                </c:pt>
                <c:pt idx="54">
                  <c:v>7.8639568921307736</c:v>
                </c:pt>
                <c:pt idx="55">
                  <c:v>8.0312751238782365</c:v>
                </c:pt>
                <c:pt idx="56">
                  <c:v>8.449570703246895</c:v>
                </c:pt>
                <c:pt idx="57">
                  <c:v>8.3659115873731622</c:v>
                </c:pt>
                <c:pt idx="58">
                  <c:v>7.8639568921307736</c:v>
                </c:pt>
                <c:pt idx="59">
                  <c:v>8.2822524714994294</c:v>
                </c:pt>
                <c:pt idx="60">
                  <c:v>7.5293204286358462</c:v>
                </c:pt>
                <c:pt idx="61">
                  <c:v>7.1110248492671877</c:v>
                </c:pt>
                <c:pt idx="62">
                  <c:v>6.8600475016459939</c:v>
                </c:pt>
                <c:pt idx="63">
                  <c:v>7.1110248492671877</c:v>
                </c:pt>
                <c:pt idx="64">
                  <c:v>8.3659115873731622</c:v>
                </c:pt>
                <c:pt idx="65">
                  <c:v>9.0351845143630154</c:v>
                </c:pt>
                <c:pt idx="66">
                  <c:v>9.3698209778579411</c:v>
                </c:pt>
                <c:pt idx="67">
                  <c:v>9.6207983254791376</c:v>
                </c:pt>
                <c:pt idx="68">
                  <c:v>9.7881165572265996</c:v>
                </c:pt>
                <c:pt idx="69">
                  <c:v>10.206412136595258</c:v>
                </c:pt>
                <c:pt idx="70">
                  <c:v>9.3698209778579411</c:v>
                </c:pt>
                <c:pt idx="71">
                  <c:v>9.2861618619842101</c:v>
                </c:pt>
                <c:pt idx="72">
                  <c:v>8.7005480508680879</c:v>
                </c:pt>
                <c:pt idx="73">
                  <c:v>8.7842071667418207</c:v>
                </c:pt>
                <c:pt idx="74">
                  <c:v>9.1188436302367464</c:v>
                </c:pt>
                <c:pt idx="75">
                  <c:v>8.7005480508680879</c:v>
                </c:pt>
                <c:pt idx="76">
                  <c:v>8.6168889349943569</c:v>
                </c:pt>
                <c:pt idx="77">
                  <c:v>9.7881165572265996</c:v>
                </c:pt>
                <c:pt idx="78">
                  <c:v>9.0351845143630154</c:v>
                </c:pt>
                <c:pt idx="79">
                  <c:v>8.8678662826155517</c:v>
                </c:pt>
                <c:pt idx="80">
                  <c:v>8.449570703246895</c:v>
                </c:pt>
                <c:pt idx="81">
                  <c:v>7.9476160080045037</c:v>
                </c:pt>
                <c:pt idx="82">
                  <c:v>8.5332298191206259</c:v>
                </c:pt>
                <c:pt idx="83">
                  <c:v>9.7881165572265996</c:v>
                </c:pt>
                <c:pt idx="84">
                  <c:v>9.7881165572265996</c:v>
                </c:pt>
                <c:pt idx="85">
                  <c:v>10.373730368342722</c:v>
                </c:pt>
                <c:pt idx="86">
                  <c:v>11.628617106448695</c:v>
                </c:pt>
                <c:pt idx="87">
                  <c:v>11.87959445406989</c:v>
                </c:pt>
                <c:pt idx="88">
                  <c:v>12.130571801691085</c:v>
                </c:pt>
                <c:pt idx="89">
                  <c:v>11.712276222322426</c:v>
                </c:pt>
                <c:pt idx="90">
                  <c:v>10.457389484216453</c:v>
                </c:pt>
                <c:pt idx="91">
                  <c:v>10.457389484216453</c:v>
                </c:pt>
                <c:pt idx="92">
                  <c:v>11.87959445406989</c:v>
                </c:pt>
                <c:pt idx="93">
                  <c:v>12.381549149312281</c:v>
                </c:pt>
                <c:pt idx="94">
                  <c:v>13.720095003291988</c:v>
                </c:pt>
                <c:pt idx="95">
                  <c:v>15.142299973145423</c:v>
                </c:pt>
                <c:pt idx="96">
                  <c:v>16.648164058872592</c:v>
                </c:pt>
                <c:pt idx="97">
                  <c:v>19.659892230326932</c:v>
                </c:pt>
                <c:pt idx="98">
                  <c:v>21.416733663675295</c:v>
                </c:pt>
                <c:pt idx="99">
                  <c:v>20.496483389064249</c:v>
                </c:pt>
                <c:pt idx="100">
                  <c:v>21.751370127170222</c:v>
                </c:pt>
                <c:pt idx="101">
                  <c:v>23.089915981149929</c:v>
                </c:pt>
                <c:pt idx="102">
                  <c:v>22.755279517655001</c:v>
                </c:pt>
                <c:pt idx="103">
                  <c:v>22.08600659066515</c:v>
                </c:pt>
                <c:pt idx="104">
                  <c:v>22.08600659066515</c:v>
                </c:pt>
                <c:pt idx="105">
                  <c:v>22.755279517655001</c:v>
                </c:pt>
                <c:pt idx="106">
                  <c:v>24.846757414498292</c:v>
                </c:pt>
                <c:pt idx="107">
                  <c:v>26.35262150022546</c:v>
                </c:pt>
                <c:pt idx="108">
                  <c:v>26.687257963720388</c:v>
                </c:pt>
                <c:pt idx="109">
                  <c:v>27.440190006583975</c:v>
                </c:pt>
                <c:pt idx="110">
                  <c:v>27.69116735420517</c:v>
                </c:pt>
                <c:pt idx="111">
                  <c:v>27.021894427215315</c:v>
                </c:pt>
                <c:pt idx="112">
                  <c:v>26.519939731972922</c:v>
                </c:pt>
                <c:pt idx="113">
                  <c:v>25.767007689109342</c:v>
                </c:pt>
                <c:pt idx="114">
                  <c:v>24.763098298624563</c:v>
                </c:pt>
                <c:pt idx="115">
                  <c:v>25.683348573235605</c:v>
                </c:pt>
                <c:pt idx="116">
                  <c:v>27.021894427215315</c:v>
                </c:pt>
                <c:pt idx="117">
                  <c:v>28.444099397068751</c:v>
                </c:pt>
                <c:pt idx="118">
                  <c:v>32.794373422502794</c:v>
                </c:pt>
                <c:pt idx="119">
                  <c:v>32.87803253837653</c:v>
                </c:pt>
                <c:pt idx="120">
                  <c:v>39.152466228906398</c:v>
                </c:pt>
                <c:pt idx="121">
                  <c:v>45.845195498804927</c:v>
                </c:pt>
                <c:pt idx="122">
                  <c:v>46.765445773415976</c:v>
                </c:pt>
                <c:pt idx="123">
                  <c:v>49.107901017880458</c:v>
                </c:pt>
                <c:pt idx="124">
                  <c:v>49.442537481375389</c:v>
                </c:pt>
                <c:pt idx="125">
                  <c:v>50.530105987733897</c:v>
                </c:pt>
                <c:pt idx="126">
                  <c:v>56.637221446516307</c:v>
                </c:pt>
                <c:pt idx="127">
                  <c:v>57.390153489379891</c:v>
                </c:pt>
                <c:pt idx="128">
                  <c:v>55.131357360789146</c:v>
                </c:pt>
                <c:pt idx="129">
                  <c:v>60.820177240202888</c:v>
                </c:pt>
                <c:pt idx="130">
                  <c:v>59.73260873384438</c:v>
                </c:pt>
                <c:pt idx="131">
                  <c:v>60.150904313213033</c:v>
                </c:pt>
                <c:pt idx="132">
                  <c:v>66.258019771995436</c:v>
                </c:pt>
                <c:pt idx="133">
                  <c:v>69.437066175197245</c:v>
                </c:pt>
                <c:pt idx="134">
                  <c:v>71.612203187914275</c:v>
                </c:pt>
                <c:pt idx="135">
                  <c:v>80.312751238782369</c:v>
                </c:pt>
                <c:pt idx="136">
                  <c:v>82.906183830868031</c:v>
                </c:pt>
                <c:pt idx="137">
                  <c:v>89.68257221664031</c:v>
                </c:pt>
                <c:pt idx="138">
                  <c:v>96.375301486538831</c:v>
                </c:pt>
                <c:pt idx="139">
                  <c:v>108.42221417235618</c:v>
                </c:pt>
                <c:pt idx="140">
                  <c:v>124.65208265186013</c:v>
                </c:pt>
                <c:pt idx="141">
                  <c:v>146.5707710107778</c:v>
                </c:pt>
                <c:pt idx="142">
                  <c:v>167.73652732683192</c:v>
                </c:pt>
                <c:pt idx="143">
                  <c:v>204.12824273190515</c:v>
                </c:pt>
                <c:pt idx="144">
                  <c:v>219.68883828441923</c:v>
                </c:pt>
                <c:pt idx="145">
                  <c:v>233.24161505596376</c:v>
                </c:pt>
                <c:pt idx="146">
                  <c:v>263.44255588638089</c:v>
                </c:pt>
                <c:pt idx="147">
                  <c:v>301.507453608928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C0B-46F6-8F80-3F1CAA3840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C$122:$C$274</c:f>
              <c:numCache>
                <c:formatCode>General</c:formatCode>
                <c:ptCount val="15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C0B-46F6-8F80-3F1CAA38401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1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D$122:$D$274</c:f>
              <c:numCache>
                <c:formatCode>General</c:formatCode>
                <c:ptCount val="153"/>
                <c:pt idx="122">
                  <c:v>46.430809309921052</c:v>
                </c:pt>
                <c:pt idx="123">
                  <c:v>48.187650743269415</c:v>
                </c:pt>
                <c:pt idx="124">
                  <c:v>49.944492176617771</c:v>
                </c:pt>
                <c:pt idx="125">
                  <c:v>51.8686518417136</c:v>
                </c:pt>
                <c:pt idx="126">
                  <c:v>53.792811506809429</c:v>
                </c:pt>
                <c:pt idx="127">
                  <c:v>55.800630287778993</c:v>
                </c:pt>
                <c:pt idx="128">
                  <c:v>57.892108184622288</c:v>
                </c:pt>
                <c:pt idx="129">
                  <c:v>60.150904313213033</c:v>
                </c:pt>
                <c:pt idx="130">
                  <c:v>62.409700441803786</c:v>
                </c:pt>
                <c:pt idx="131">
                  <c:v>64.752155686268281</c:v>
                </c:pt>
                <c:pt idx="132">
                  <c:v>67.178270046606499</c:v>
                </c:pt>
                <c:pt idx="133">
                  <c:v>69.771702638692176</c:v>
                </c:pt>
                <c:pt idx="134">
                  <c:v>72.365135230777852</c:v>
                </c:pt>
                <c:pt idx="135">
                  <c:v>75.125886054610987</c:v>
                </c:pt>
                <c:pt idx="136">
                  <c:v>77.886636878444136</c:v>
                </c:pt>
                <c:pt idx="137">
                  <c:v>80.731046818151015</c:v>
                </c:pt>
                <c:pt idx="138">
                  <c:v>83.742774989605351</c:v>
                </c:pt>
                <c:pt idx="139">
                  <c:v>86.838162276933431</c:v>
                </c:pt>
                <c:pt idx="140">
                  <c:v>90.017208680135226</c:v>
                </c:pt>
                <c:pt idx="141">
                  <c:v>93.363573315084494</c:v>
                </c:pt>
                <c:pt idx="142">
                  <c:v>96.709937950033748</c:v>
                </c:pt>
                <c:pt idx="143">
                  <c:v>100.22362081673049</c:v>
                </c:pt>
                <c:pt idx="144">
                  <c:v>103.82096279930094</c:v>
                </c:pt>
                <c:pt idx="145">
                  <c:v>107.58562301361886</c:v>
                </c:pt>
                <c:pt idx="146">
                  <c:v>111.43394234381053</c:v>
                </c:pt>
                <c:pt idx="147">
                  <c:v>115.3659207898759</c:v>
                </c:pt>
                <c:pt idx="148">
                  <c:v>119.46521746768876</c:v>
                </c:pt>
                <c:pt idx="149">
                  <c:v>123.73183237724906</c:v>
                </c:pt>
                <c:pt idx="150">
                  <c:v>128.16576551855684</c:v>
                </c:pt>
                <c:pt idx="151">
                  <c:v>132.76701689161209</c:v>
                </c:pt>
                <c:pt idx="152">
                  <c:v>137.45192738054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C0B-46F6-8F80-3F1CAA38401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E$122:$E$274</c:f>
              <c:numCache>
                <c:formatCode>General</c:formatCode>
                <c:ptCount val="153"/>
                <c:pt idx="122">
                  <c:v>46.765445773415976</c:v>
                </c:pt>
                <c:pt idx="123">
                  <c:v>48.940582786133</c:v>
                </c:pt>
                <c:pt idx="124">
                  <c:v>51.283038030597488</c:v>
                </c:pt>
                <c:pt idx="125">
                  <c:v>53.792811506809429</c:v>
                </c:pt>
                <c:pt idx="126">
                  <c:v>56.469903214768848</c:v>
                </c:pt>
                <c:pt idx="127">
                  <c:v>59.397972270349449</c:v>
                </c:pt>
                <c:pt idx="128">
                  <c:v>62.66067778942498</c:v>
                </c:pt>
                <c:pt idx="129">
                  <c:v>65.923383308500519</c:v>
                </c:pt>
                <c:pt idx="130">
                  <c:v>69.353407059323516</c:v>
                </c:pt>
                <c:pt idx="131">
                  <c:v>72.867089926020256</c:v>
                </c:pt>
                <c:pt idx="132">
                  <c:v>76.715409256211899</c:v>
                </c:pt>
                <c:pt idx="133">
                  <c:v>80.814705934024744</c:v>
                </c:pt>
                <c:pt idx="134">
                  <c:v>85.081320843585061</c:v>
                </c:pt>
                <c:pt idx="135">
                  <c:v>89.515253984892837</c:v>
                </c:pt>
                <c:pt idx="136">
                  <c:v>94.116505357948085</c:v>
                </c:pt>
                <c:pt idx="137">
                  <c:v>98.885074962750778</c:v>
                </c:pt>
                <c:pt idx="138">
                  <c:v>103.9882810310484</c:v>
                </c:pt>
                <c:pt idx="139">
                  <c:v>109.34246444696723</c:v>
                </c:pt>
                <c:pt idx="140">
                  <c:v>114.94762521050724</c:v>
                </c:pt>
                <c:pt idx="141">
                  <c:v>120.88742243754218</c:v>
                </c:pt>
                <c:pt idx="142">
                  <c:v>127.07819701219833</c:v>
                </c:pt>
                <c:pt idx="143">
                  <c:v>133.51994893447568</c:v>
                </c:pt>
                <c:pt idx="144">
                  <c:v>140.37999643612167</c:v>
                </c:pt>
                <c:pt idx="145">
                  <c:v>147.57468040126258</c:v>
                </c:pt>
                <c:pt idx="146">
                  <c:v>155.02034171402471</c:v>
                </c:pt>
                <c:pt idx="147">
                  <c:v>162.88429860615548</c:v>
                </c:pt>
                <c:pt idx="148">
                  <c:v>171.08289196178117</c:v>
                </c:pt>
                <c:pt idx="149">
                  <c:v>179.69978089677554</c:v>
                </c:pt>
                <c:pt idx="150">
                  <c:v>188.73496541113855</c:v>
                </c:pt>
                <c:pt idx="151">
                  <c:v>198.1884455048702</c:v>
                </c:pt>
                <c:pt idx="152">
                  <c:v>208.143880293844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C0B-46F6-8F80-3F1CAA38401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F$122:$F$274</c:f>
              <c:numCache>
                <c:formatCode>General</c:formatCode>
                <c:ptCount val="153"/>
                <c:pt idx="122">
                  <c:v>47.016423121037171</c:v>
                </c:pt>
                <c:pt idx="123">
                  <c:v>49.609855713122855</c:v>
                </c:pt>
                <c:pt idx="124">
                  <c:v>52.454265652829726</c:v>
                </c:pt>
                <c:pt idx="125">
                  <c:v>55.549652940157799</c:v>
                </c:pt>
                <c:pt idx="126">
                  <c:v>59.063335806854525</c:v>
                </c:pt>
                <c:pt idx="127">
                  <c:v>62.995314252919911</c:v>
                </c:pt>
                <c:pt idx="128">
                  <c:v>67.512906510101416</c:v>
                </c:pt>
                <c:pt idx="129">
                  <c:v>72.030498767282936</c:v>
                </c:pt>
                <c:pt idx="130">
                  <c:v>76.715409256211899</c:v>
                </c:pt>
                <c:pt idx="131">
                  <c:v>81.651297092762064</c:v>
                </c:pt>
                <c:pt idx="132">
                  <c:v>87.089139624554619</c:v>
                </c:pt>
                <c:pt idx="133">
                  <c:v>92.861618619842105</c:v>
                </c:pt>
                <c:pt idx="134">
                  <c:v>99.052393194498251</c:v>
                </c:pt>
                <c:pt idx="135">
                  <c:v>105.5778042326493</c:v>
                </c:pt>
                <c:pt idx="136">
                  <c:v>112.43785173429531</c:v>
                </c:pt>
                <c:pt idx="137">
                  <c:v>119.71619481530996</c:v>
                </c:pt>
                <c:pt idx="138">
                  <c:v>127.58015170744072</c:v>
                </c:pt>
                <c:pt idx="139">
                  <c:v>135.94606329481388</c:v>
                </c:pt>
                <c:pt idx="140">
                  <c:v>144.89758869330316</c:v>
                </c:pt>
                <c:pt idx="141">
                  <c:v>154.35106878703485</c:v>
                </c:pt>
                <c:pt idx="142">
                  <c:v>164.30650357600891</c:v>
                </c:pt>
                <c:pt idx="143">
                  <c:v>174.93121129197283</c:v>
                </c:pt>
                <c:pt idx="144">
                  <c:v>186.30885105080031</c:v>
                </c:pt>
                <c:pt idx="145">
                  <c:v>198.43942285249142</c:v>
                </c:pt>
                <c:pt idx="146">
                  <c:v>211.32292669704609</c:v>
                </c:pt>
                <c:pt idx="147">
                  <c:v>224.95936258446432</c:v>
                </c:pt>
                <c:pt idx="148">
                  <c:v>239.43238963061992</c:v>
                </c:pt>
                <c:pt idx="149">
                  <c:v>254.90932606726025</c:v>
                </c:pt>
                <c:pt idx="150">
                  <c:v>271.30651277851166</c:v>
                </c:pt>
                <c:pt idx="151">
                  <c:v>288.79126799612158</c:v>
                </c:pt>
                <c:pt idx="152">
                  <c:v>307.36359172008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5C0B-46F6-8F80-3F1CAA384018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4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G$122:$G$274</c:f>
              <c:numCache>
                <c:formatCode>General</c:formatCode>
                <c:ptCount val="153"/>
                <c:pt idx="122">
                  <c:v>47.016423121037171</c:v>
                </c:pt>
                <c:pt idx="123">
                  <c:v>49.609855713122855</c:v>
                </c:pt>
                <c:pt idx="124">
                  <c:v>52.454265652829726</c:v>
                </c:pt>
                <c:pt idx="125">
                  <c:v>55.549652940157799</c:v>
                </c:pt>
                <c:pt idx="126">
                  <c:v>59.063335806854525</c:v>
                </c:pt>
                <c:pt idx="127">
                  <c:v>62.995314252919911</c:v>
                </c:pt>
                <c:pt idx="128">
                  <c:v>67.512906510101416</c:v>
                </c:pt>
                <c:pt idx="129">
                  <c:v>72.030498767282936</c:v>
                </c:pt>
                <c:pt idx="130">
                  <c:v>76.715409256211899</c:v>
                </c:pt>
                <c:pt idx="131">
                  <c:v>81.651297092762064</c:v>
                </c:pt>
                <c:pt idx="132">
                  <c:v>87.089139624554619</c:v>
                </c:pt>
                <c:pt idx="133">
                  <c:v>93.949187126200613</c:v>
                </c:pt>
                <c:pt idx="134">
                  <c:v>101.89680313420513</c:v>
                </c:pt>
                <c:pt idx="135">
                  <c:v>110.59735118507321</c:v>
                </c:pt>
                <c:pt idx="136">
                  <c:v>119.88351304705741</c:v>
                </c:pt>
                <c:pt idx="137">
                  <c:v>130.34090253127385</c:v>
                </c:pt>
                <c:pt idx="138">
                  <c:v>142.3041561012175</c:v>
                </c:pt>
                <c:pt idx="139">
                  <c:v>155.94059198863573</c:v>
                </c:pt>
                <c:pt idx="140">
                  <c:v>170.24630080304385</c:v>
                </c:pt>
                <c:pt idx="141">
                  <c:v>185.47225989206302</c:v>
                </c:pt>
                <c:pt idx="142">
                  <c:v>202.03676483506189</c:v>
                </c:pt>
                <c:pt idx="143">
                  <c:v>220.44177032728282</c:v>
                </c:pt>
                <c:pt idx="144">
                  <c:v>240.77093548459959</c:v>
                </c:pt>
                <c:pt idx="145">
                  <c:v>262.94060119113851</c:v>
                </c:pt>
                <c:pt idx="146">
                  <c:v>286.86710833102575</c:v>
                </c:pt>
                <c:pt idx="147">
                  <c:v>312.71777513600881</c:v>
                </c:pt>
                <c:pt idx="148">
                  <c:v>340.99455630133014</c:v>
                </c:pt>
                <c:pt idx="149">
                  <c:v>371.94842917461079</c:v>
                </c:pt>
                <c:pt idx="150">
                  <c:v>405.91403021934588</c:v>
                </c:pt>
                <c:pt idx="151">
                  <c:v>442.80770031966148</c:v>
                </c:pt>
                <c:pt idx="152">
                  <c:v>482.880416823178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5C0B-46F6-8F80-3F1CAA3840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4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B$244:$B$427</c:f>
              <c:numCache>
                <c:formatCode>0</c:formatCode>
                <c:ptCount val="184"/>
                <c:pt idx="0">
                  <c:v>31</c:v>
                </c:pt>
                <c:pt idx="1">
                  <c:v>40</c:v>
                </c:pt>
                <c:pt idx="2">
                  <c:v>180</c:v>
                </c:pt>
                <c:pt idx="3">
                  <c:v>117</c:v>
                </c:pt>
                <c:pt idx="4">
                  <c:v>117</c:v>
                </c:pt>
                <c:pt idx="5">
                  <c:v>74</c:v>
                </c:pt>
                <c:pt idx="6">
                  <c:v>72</c:v>
                </c:pt>
                <c:pt idx="7">
                  <c:v>6</c:v>
                </c:pt>
                <c:pt idx="8">
                  <c:v>29</c:v>
                </c:pt>
                <c:pt idx="9">
                  <c:v>139</c:v>
                </c:pt>
                <c:pt idx="10">
                  <c:v>96</c:v>
                </c:pt>
                <c:pt idx="11">
                  <c:v>94</c:v>
                </c:pt>
                <c:pt idx="12">
                  <c:v>64</c:v>
                </c:pt>
                <c:pt idx="13">
                  <c:v>60</c:v>
                </c:pt>
                <c:pt idx="14">
                  <c:v>19</c:v>
                </c:pt>
                <c:pt idx="15">
                  <c:v>21</c:v>
                </c:pt>
                <c:pt idx="16">
                  <c:v>102</c:v>
                </c:pt>
                <c:pt idx="17">
                  <c:v>90</c:v>
                </c:pt>
                <c:pt idx="18">
                  <c:v>82</c:v>
                </c:pt>
                <c:pt idx="19">
                  <c:v>55</c:v>
                </c:pt>
                <c:pt idx="20">
                  <c:v>47</c:v>
                </c:pt>
                <c:pt idx="21">
                  <c:v>13</c:v>
                </c:pt>
                <c:pt idx="22">
                  <c:v>28</c:v>
                </c:pt>
                <c:pt idx="23">
                  <c:v>59</c:v>
                </c:pt>
                <c:pt idx="24">
                  <c:v>60</c:v>
                </c:pt>
                <c:pt idx="25">
                  <c:v>62</c:v>
                </c:pt>
                <c:pt idx="26">
                  <c:v>36</c:v>
                </c:pt>
                <c:pt idx="27">
                  <c:v>22</c:v>
                </c:pt>
                <c:pt idx="28">
                  <c:v>21</c:v>
                </c:pt>
                <c:pt idx="29">
                  <c:v>12</c:v>
                </c:pt>
                <c:pt idx="30">
                  <c:v>39</c:v>
                </c:pt>
                <c:pt idx="31">
                  <c:v>25</c:v>
                </c:pt>
                <c:pt idx="32">
                  <c:v>17</c:v>
                </c:pt>
                <c:pt idx="33">
                  <c:v>20</c:v>
                </c:pt>
                <c:pt idx="34">
                  <c:v>13</c:v>
                </c:pt>
                <c:pt idx="35">
                  <c:v>10</c:v>
                </c:pt>
                <c:pt idx="36">
                  <c:v>6</c:v>
                </c:pt>
                <c:pt idx="37">
                  <c:v>16</c:v>
                </c:pt>
                <c:pt idx="38">
                  <c:v>21</c:v>
                </c:pt>
                <c:pt idx="39">
                  <c:v>14</c:v>
                </c:pt>
                <c:pt idx="40">
                  <c:v>8</c:v>
                </c:pt>
                <c:pt idx="41">
                  <c:v>12</c:v>
                </c:pt>
                <c:pt idx="42">
                  <c:v>2</c:v>
                </c:pt>
                <c:pt idx="43">
                  <c:v>6</c:v>
                </c:pt>
                <c:pt idx="44">
                  <c:v>9</c:v>
                </c:pt>
                <c:pt idx="45">
                  <c:v>7</c:v>
                </c:pt>
                <c:pt idx="46">
                  <c:v>4</c:v>
                </c:pt>
                <c:pt idx="47">
                  <c:v>4</c:v>
                </c:pt>
                <c:pt idx="48">
                  <c:v>6</c:v>
                </c:pt>
                <c:pt idx="49">
                  <c:v>1</c:v>
                </c:pt>
                <c:pt idx="50">
                  <c:v>1</c:v>
                </c:pt>
                <c:pt idx="51">
                  <c:v>4</c:v>
                </c:pt>
                <c:pt idx="52">
                  <c:v>0</c:v>
                </c:pt>
                <c:pt idx="53">
                  <c:v>3</c:v>
                </c:pt>
                <c:pt idx="54">
                  <c:v>3</c:v>
                </c:pt>
                <c:pt idx="55">
                  <c:v>1</c:v>
                </c:pt>
                <c:pt idx="56">
                  <c:v>1</c:v>
                </c:pt>
                <c:pt idx="57">
                  <c:v>0</c:v>
                </c:pt>
                <c:pt idx="58">
                  <c:v>0</c:v>
                </c:pt>
                <c:pt idx="59">
                  <c:v>2</c:v>
                </c:pt>
                <c:pt idx="60">
                  <c:v>2</c:v>
                </c:pt>
                <c:pt idx="61">
                  <c:v>5</c:v>
                </c:pt>
                <c:pt idx="62">
                  <c:v>0</c:v>
                </c:pt>
                <c:pt idx="63">
                  <c:v>5</c:v>
                </c:pt>
                <c:pt idx="64">
                  <c:v>0</c:v>
                </c:pt>
                <c:pt idx="65">
                  <c:v>2</c:v>
                </c:pt>
                <c:pt idx="66">
                  <c:v>2</c:v>
                </c:pt>
                <c:pt idx="67">
                  <c:v>7</c:v>
                </c:pt>
                <c:pt idx="68">
                  <c:v>12</c:v>
                </c:pt>
                <c:pt idx="69">
                  <c:v>1</c:v>
                </c:pt>
                <c:pt idx="70">
                  <c:v>2</c:v>
                </c:pt>
                <c:pt idx="71">
                  <c:v>1</c:v>
                </c:pt>
                <c:pt idx="72">
                  <c:v>4</c:v>
                </c:pt>
                <c:pt idx="73">
                  <c:v>8</c:v>
                </c:pt>
                <c:pt idx="74">
                  <c:v>3</c:v>
                </c:pt>
                <c:pt idx="75">
                  <c:v>7</c:v>
                </c:pt>
                <c:pt idx="76">
                  <c:v>9</c:v>
                </c:pt>
                <c:pt idx="77">
                  <c:v>3</c:v>
                </c:pt>
                <c:pt idx="78">
                  <c:v>1</c:v>
                </c:pt>
                <c:pt idx="79">
                  <c:v>7</c:v>
                </c:pt>
                <c:pt idx="80">
                  <c:v>6</c:v>
                </c:pt>
                <c:pt idx="81">
                  <c:v>6</c:v>
                </c:pt>
                <c:pt idx="82">
                  <c:v>4</c:v>
                </c:pt>
                <c:pt idx="83">
                  <c:v>4</c:v>
                </c:pt>
                <c:pt idx="84">
                  <c:v>3</c:v>
                </c:pt>
                <c:pt idx="85">
                  <c:v>1</c:v>
                </c:pt>
                <c:pt idx="86">
                  <c:v>3</c:v>
                </c:pt>
                <c:pt idx="87">
                  <c:v>4</c:v>
                </c:pt>
                <c:pt idx="88">
                  <c:v>3</c:v>
                </c:pt>
                <c:pt idx="89">
                  <c:v>5</c:v>
                </c:pt>
                <c:pt idx="90">
                  <c:v>5</c:v>
                </c:pt>
                <c:pt idx="91">
                  <c:v>3</c:v>
                </c:pt>
                <c:pt idx="92">
                  <c:v>1</c:v>
                </c:pt>
                <c:pt idx="93">
                  <c:v>4</c:v>
                </c:pt>
                <c:pt idx="94">
                  <c:v>12</c:v>
                </c:pt>
                <c:pt idx="95">
                  <c:v>14</c:v>
                </c:pt>
                <c:pt idx="96">
                  <c:v>8</c:v>
                </c:pt>
                <c:pt idx="97">
                  <c:v>13</c:v>
                </c:pt>
                <c:pt idx="98">
                  <c:v>14</c:v>
                </c:pt>
                <c:pt idx="99">
                  <c:v>21</c:v>
                </c:pt>
                <c:pt idx="100">
                  <c:v>8</c:v>
                </c:pt>
                <c:pt idx="101">
                  <c:v>4</c:v>
                </c:pt>
                <c:pt idx="102">
                  <c:v>10</c:v>
                </c:pt>
                <c:pt idx="103">
                  <c:v>8</c:v>
                </c:pt>
                <c:pt idx="104">
                  <c:v>5</c:v>
                </c:pt>
                <c:pt idx="105">
                  <c:v>5</c:v>
                </c:pt>
                <c:pt idx="106">
                  <c:v>1</c:v>
                </c:pt>
                <c:pt idx="107">
                  <c:v>7</c:v>
                </c:pt>
                <c:pt idx="108">
                  <c:v>14</c:v>
                </c:pt>
                <c:pt idx="109">
                  <c:v>8</c:v>
                </c:pt>
                <c:pt idx="110">
                  <c:v>4</c:v>
                </c:pt>
                <c:pt idx="111">
                  <c:v>3</c:v>
                </c:pt>
                <c:pt idx="112">
                  <c:v>5</c:v>
                </c:pt>
                <c:pt idx="113">
                  <c:v>1</c:v>
                </c:pt>
                <c:pt idx="114">
                  <c:v>2</c:v>
                </c:pt>
                <c:pt idx="115">
                  <c:v>4</c:v>
                </c:pt>
                <c:pt idx="116">
                  <c:v>5</c:v>
                </c:pt>
                <c:pt idx="117">
                  <c:v>7</c:v>
                </c:pt>
                <c:pt idx="118">
                  <c:v>7</c:v>
                </c:pt>
                <c:pt idx="119">
                  <c:v>6</c:v>
                </c:pt>
                <c:pt idx="120">
                  <c:v>2</c:v>
                </c:pt>
                <c:pt idx="121">
                  <c:v>10</c:v>
                </c:pt>
                <c:pt idx="122">
                  <c:v>16</c:v>
                </c:pt>
                <c:pt idx="123">
                  <c:v>15</c:v>
                </c:pt>
                <c:pt idx="124">
                  <c:v>9</c:v>
                </c:pt>
                <c:pt idx="125">
                  <c:v>9</c:v>
                </c:pt>
                <c:pt idx="126">
                  <c:v>4</c:v>
                </c:pt>
                <c:pt idx="127">
                  <c:v>4</c:v>
                </c:pt>
                <c:pt idx="128">
                  <c:v>9</c:v>
                </c:pt>
                <c:pt idx="129">
                  <c:v>13</c:v>
                </c:pt>
                <c:pt idx="130">
                  <c:v>16</c:v>
                </c:pt>
                <c:pt idx="131">
                  <c:v>12</c:v>
                </c:pt>
                <c:pt idx="132">
                  <c:v>9</c:v>
                </c:pt>
                <c:pt idx="133">
                  <c:v>5</c:v>
                </c:pt>
                <c:pt idx="134">
                  <c:v>7</c:v>
                </c:pt>
                <c:pt idx="135">
                  <c:v>13</c:v>
                </c:pt>
                <c:pt idx="136">
                  <c:v>20</c:v>
                </c:pt>
                <c:pt idx="137">
                  <c:v>15</c:v>
                </c:pt>
                <c:pt idx="138">
                  <c:v>23</c:v>
                </c:pt>
                <c:pt idx="139">
                  <c:v>13</c:v>
                </c:pt>
                <c:pt idx="140">
                  <c:v>30</c:v>
                </c:pt>
                <c:pt idx="141">
                  <c:v>3</c:v>
                </c:pt>
                <c:pt idx="142">
                  <c:v>7</c:v>
                </c:pt>
                <c:pt idx="143">
                  <c:v>19</c:v>
                </c:pt>
                <c:pt idx="144">
                  <c:v>13</c:v>
                </c:pt>
                <c:pt idx="145">
                  <c:v>22</c:v>
                </c:pt>
                <c:pt idx="146">
                  <c:v>17</c:v>
                </c:pt>
                <c:pt idx="147">
                  <c:v>26</c:v>
                </c:pt>
                <c:pt idx="148">
                  <c:v>11</c:v>
                </c:pt>
                <c:pt idx="149">
                  <c:v>24</c:v>
                </c:pt>
                <c:pt idx="150">
                  <c:v>28</c:v>
                </c:pt>
                <c:pt idx="151">
                  <c:v>30</c:v>
                </c:pt>
                <c:pt idx="152">
                  <c:v>61</c:v>
                </c:pt>
                <c:pt idx="153">
                  <c:v>49</c:v>
                </c:pt>
                <c:pt idx="154">
                  <c:v>29</c:v>
                </c:pt>
                <c:pt idx="155">
                  <c:v>11</c:v>
                </c:pt>
                <c:pt idx="156">
                  <c:v>48</c:v>
                </c:pt>
                <c:pt idx="157">
                  <c:v>46</c:v>
                </c:pt>
                <c:pt idx="158">
                  <c:v>84</c:v>
                </c:pt>
                <c:pt idx="159">
                  <c:v>77</c:v>
                </c:pt>
                <c:pt idx="160">
                  <c:v>46</c:v>
                </c:pt>
                <c:pt idx="161">
                  <c:v>35</c:v>
                </c:pt>
                <c:pt idx="162">
                  <c:v>12</c:v>
                </c:pt>
                <c:pt idx="163">
                  <c:v>99</c:v>
                </c:pt>
                <c:pt idx="164">
                  <c:v>123</c:v>
                </c:pt>
                <c:pt idx="165">
                  <c:v>137</c:v>
                </c:pt>
                <c:pt idx="166">
                  <c:v>149</c:v>
                </c:pt>
                <c:pt idx="167">
                  <c:v>160</c:v>
                </c:pt>
                <c:pt idx="168">
                  <c:v>125</c:v>
                </c:pt>
                <c:pt idx="169">
                  <c:v>46</c:v>
                </c:pt>
                <c:pt idx="170">
                  <c:v>192</c:v>
                </c:pt>
                <c:pt idx="171">
                  <c:v>313</c:v>
                </c:pt>
                <c:pt idx="172">
                  <c:v>239</c:v>
                </c:pt>
                <c:pt idx="173">
                  <c:v>351</c:v>
                </c:pt>
                <c:pt idx="174">
                  <c:v>417</c:v>
                </c:pt>
                <c:pt idx="175">
                  <c:v>290</c:v>
                </c:pt>
                <c:pt idx="176">
                  <c:v>134</c:v>
                </c:pt>
                <c:pt idx="177">
                  <c:v>266</c:v>
                </c:pt>
                <c:pt idx="178">
                  <c:v>5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9FF-47AF-8B33-C07C3C8439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C$244:$C$427</c:f>
              <c:numCache>
                <c:formatCode>General</c:formatCode>
                <c:ptCount val="18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9FF-47AF-8B33-C07C3C84391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D$244:$D$427</c:f>
              <c:numCache>
                <c:formatCode>General</c:formatCode>
                <c:ptCount val="184"/>
                <c:pt idx="73">
                  <c:v>0</c:v>
                </c:pt>
                <c:pt idx="153">
                  <c:v>40</c:v>
                </c:pt>
                <c:pt idx="154">
                  <c:v>41</c:v>
                </c:pt>
                <c:pt idx="155">
                  <c:v>43</c:v>
                </c:pt>
                <c:pt idx="156">
                  <c:v>44</c:v>
                </c:pt>
                <c:pt idx="157">
                  <c:v>46</c:v>
                </c:pt>
                <c:pt idx="158">
                  <c:v>48</c:v>
                </c:pt>
                <c:pt idx="159">
                  <c:v>49</c:v>
                </c:pt>
                <c:pt idx="160">
                  <c:v>51</c:v>
                </c:pt>
                <c:pt idx="161">
                  <c:v>53</c:v>
                </c:pt>
                <c:pt idx="162">
                  <c:v>55</c:v>
                </c:pt>
                <c:pt idx="163">
                  <c:v>57</c:v>
                </c:pt>
                <c:pt idx="164">
                  <c:v>59</c:v>
                </c:pt>
                <c:pt idx="165">
                  <c:v>62</c:v>
                </c:pt>
                <c:pt idx="166">
                  <c:v>64</c:v>
                </c:pt>
                <c:pt idx="167">
                  <c:v>66</c:v>
                </c:pt>
                <c:pt idx="168">
                  <c:v>69</c:v>
                </c:pt>
                <c:pt idx="169">
                  <c:v>71</c:v>
                </c:pt>
                <c:pt idx="170">
                  <c:v>74</c:v>
                </c:pt>
                <c:pt idx="171">
                  <c:v>76</c:v>
                </c:pt>
                <c:pt idx="172">
                  <c:v>79</c:v>
                </c:pt>
                <c:pt idx="173">
                  <c:v>82</c:v>
                </c:pt>
                <c:pt idx="174">
                  <c:v>85</c:v>
                </c:pt>
                <c:pt idx="175">
                  <c:v>88</c:v>
                </c:pt>
                <c:pt idx="176">
                  <c:v>91</c:v>
                </c:pt>
                <c:pt idx="177">
                  <c:v>95</c:v>
                </c:pt>
                <c:pt idx="178">
                  <c:v>98</c:v>
                </c:pt>
                <c:pt idx="179">
                  <c:v>101</c:v>
                </c:pt>
                <c:pt idx="180">
                  <c:v>105</c:v>
                </c:pt>
                <c:pt idx="181">
                  <c:v>109</c:v>
                </c:pt>
                <c:pt idx="182">
                  <c:v>113</c:v>
                </c:pt>
                <c:pt idx="183">
                  <c:v>1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9FF-47AF-8B33-C07C3C84391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E$244:$E$427</c:f>
              <c:numCache>
                <c:formatCode>General</c:formatCode>
                <c:ptCount val="184"/>
                <c:pt idx="153">
                  <c:v>41</c:v>
                </c:pt>
                <c:pt idx="154">
                  <c:v>44</c:v>
                </c:pt>
                <c:pt idx="155">
                  <c:v>46</c:v>
                </c:pt>
                <c:pt idx="156">
                  <c:v>48</c:v>
                </c:pt>
                <c:pt idx="157">
                  <c:v>50</c:v>
                </c:pt>
                <c:pt idx="158">
                  <c:v>53</c:v>
                </c:pt>
                <c:pt idx="159">
                  <c:v>56</c:v>
                </c:pt>
                <c:pt idx="160">
                  <c:v>59</c:v>
                </c:pt>
                <c:pt idx="161">
                  <c:v>62</c:v>
                </c:pt>
                <c:pt idx="162">
                  <c:v>65</c:v>
                </c:pt>
                <c:pt idx="163">
                  <c:v>68</c:v>
                </c:pt>
                <c:pt idx="164">
                  <c:v>72</c:v>
                </c:pt>
                <c:pt idx="165">
                  <c:v>76</c:v>
                </c:pt>
                <c:pt idx="166">
                  <c:v>79</c:v>
                </c:pt>
                <c:pt idx="167">
                  <c:v>83</c:v>
                </c:pt>
                <c:pt idx="168">
                  <c:v>88</c:v>
                </c:pt>
                <c:pt idx="169">
                  <c:v>92</c:v>
                </c:pt>
                <c:pt idx="170">
                  <c:v>97</c:v>
                </c:pt>
                <c:pt idx="171">
                  <c:v>102</c:v>
                </c:pt>
                <c:pt idx="172">
                  <c:v>107</c:v>
                </c:pt>
                <c:pt idx="173">
                  <c:v>112</c:v>
                </c:pt>
                <c:pt idx="174">
                  <c:v>118</c:v>
                </c:pt>
                <c:pt idx="175">
                  <c:v>124</c:v>
                </c:pt>
                <c:pt idx="176">
                  <c:v>130</c:v>
                </c:pt>
                <c:pt idx="177">
                  <c:v>137</c:v>
                </c:pt>
                <c:pt idx="178">
                  <c:v>144</c:v>
                </c:pt>
                <c:pt idx="179">
                  <c:v>151</c:v>
                </c:pt>
                <c:pt idx="180">
                  <c:v>159</c:v>
                </c:pt>
                <c:pt idx="181">
                  <c:v>167</c:v>
                </c:pt>
                <c:pt idx="182">
                  <c:v>175</c:v>
                </c:pt>
                <c:pt idx="183">
                  <c:v>1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9FF-47AF-8B33-C07C3C84391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F$244:$F$427</c:f>
              <c:numCache>
                <c:formatCode>General</c:formatCode>
                <c:ptCount val="184"/>
                <c:pt idx="153">
                  <c:v>43</c:v>
                </c:pt>
                <c:pt idx="154">
                  <c:v>46</c:v>
                </c:pt>
                <c:pt idx="155">
                  <c:v>49</c:v>
                </c:pt>
                <c:pt idx="156">
                  <c:v>51</c:v>
                </c:pt>
                <c:pt idx="157">
                  <c:v>54</c:v>
                </c:pt>
                <c:pt idx="158">
                  <c:v>58</c:v>
                </c:pt>
                <c:pt idx="159">
                  <c:v>62</c:v>
                </c:pt>
                <c:pt idx="160">
                  <c:v>67</c:v>
                </c:pt>
                <c:pt idx="161">
                  <c:v>71</c:v>
                </c:pt>
                <c:pt idx="162">
                  <c:v>75</c:v>
                </c:pt>
                <c:pt idx="163">
                  <c:v>80</c:v>
                </c:pt>
                <c:pt idx="164">
                  <c:v>85</c:v>
                </c:pt>
                <c:pt idx="165">
                  <c:v>91</c:v>
                </c:pt>
                <c:pt idx="166">
                  <c:v>97</c:v>
                </c:pt>
                <c:pt idx="167">
                  <c:v>103</c:v>
                </c:pt>
                <c:pt idx="168">
                  <c:v>110</c:v>
                </c:pt>
                <c:pt idx="169">
                  <c:v>117</c:v>
                </c:pt>
                <c:pt idx="170">
                  <c:v>125</c:v>
                </c:pt>
                <c:pt idx="171">
                  <c:v>133</c:v>
                </c:pt>
                <c:pt idx="172">
                  <c:v>142</c:v>
                </c:pt>
                <c:pt idx="173">
                  <c:v>151</c:v>
                </c:pt>
                <c:pt idx="174">
                  <c:v>160</c:v>
                </c:pt>
                <c:pt idx="175">
                  <c:v>171</c:v>
                </c:pt>
                <c:pt idx="176">
                  <c:v>182</c:v>
                </c:pt>
                <c:pt idx="177">
                  <c:v>194</c:v>
                </c:pt>
                <c:pt idx="178">
                  <c:v>206</c:v>
                </c:pt>
                <c:pt idx="179">
                  <c:v>219</c:v>
                </c:pt>
                <c:pt idx="180">
                  <c:v>233</c:v>
                </c:pt>
                <c:pt idx="181">
                  <c:v>248</c:v>
                </c:pt>
                <c:pt idx="182">
                  <c:v>265</c:v>
                </c:pt>
                <c:pt idx="183">
                  <c:v>2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9FF-47AF-8B33-C07C3C843910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4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G$244:$G$427</c:f>
              <c:numCache>
                <c:formatCode>General</c:formatCode>
                <c:ptCount val="184"/>
                <c:pt idx="153">
                  <c:v>43</c:v>
                </c:pt>
                <c:pt idx="154">
                  <c:v>46</c:v>
                </c:pt>
                <c:pt idx="155">
                  <c:v>49</c:v>
                </c:pt>
                <c:pt idx="156">
                  <c:v>51</c:v>
                </c:pt>
                <c:pt idx="157">
                  <c:v>54</c:v>
                </c:pt>
                <c:pt idx="158">
                  <c:v>58</c:v>
                </c:pt>
                <c:pt idx="159">
                  <c:v>62</c:v>
                </c:pt>
                <c:pt idx="160">
                  <c:v>67</c:v>
                </c:pt>
                <c:pt idx="161">
                  <c:v>71</c:v>
                </c:pt>
                <c:pt idx="162">
                  <c:v>75</c:v>
                </c:pt>
                <c:pt idx="163">
                  <c:v>80</c:v>
                </c:pt>
                <c:pt idx="164">
                  <c:v>91</c:v>
                </c:pt>
                <c:pt idx="165">
                  <c:v>100</c:v>
                </c:pt>
                <c:pt idx="166">
                  <c:v>109</c:v>
                </c:pt>
                <c:pt idx="167">
                  <c:v>117</c:v>
                </c:pt>
                <c:pt idx="168">
                  <c:v>127</c:v>
                </c:pt>
                <c:pt idx="169">
                  <c:v>139</c:v>
                </c:pt>
                <c:pt idx="170">
                  <c:v>153</c:v>
                </c:pt>
                <c:pt idx="171">
                  <c:v>168</c:v>
                </c:pt>
                <c:pt idx="172">
                  <c:v>182</c:v>
                </c:pt>
                <c:pt idx="173">
                  <c:v>198</c:v>
                </c:pt>
                <c:pt idx="174">
                  <c:v>215</c:v>
                </c:pt>
                <c:pt idx="175">
                  <c:v>236</c:v>
                </c:pt>
                <c:pt idx="176">
                  <c:v>258</c:v>
                </c:pt>
                <c:pt idx="177">
                  <c:v>281</c:v>
                </c:pt>
                <c:pt idx="178">
                  <c:v>306</c:v>
                </c:pt>
                <c:pt idx="179">
                  <c:v>334</c:v>
                </c:pt>
                <c:pt idx="180">
                  <c:v>364</c:v>
                </c:pt>
                <c:pt idx="181">
                  <c:v>397</c:v>
                </c:pt>
                <c:pt idx="182">
                  <c:v>434</c:v>
                </c:pt>
                <c:pt idx="183">
                  <c:v>4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9FF-47AF-8B33-C07C3C8439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H$122:$H$274</c:f>
              <c:numCache>
                <c:formatCode>0</c:formatCode>
                <c:ptCount val="15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EF-41E2-A2D7-553F333F2977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I$122:$I$274</c:f>
              <c:numCache>
                <c:formatCode>0</c:formatCode>
                <c:ptCount val="153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2EF-41E2-A2D7-553F333F29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B$122:$B$274</c:f>
              <c:numCache>
                <c:formatCode>0</c:formatCode>
                <c:ptCount val="153"/>
                <c:pt idx="0">
                  <c:v>34.415928389493153</c:v>
                </c:pt>
                <c:pt idx="1">
                  <c:v>27.278984714252633</c:v>
                </c:pt>
                <c:pt idx="2">
                  <c:v>24.741404740833783</c:v>
                </c:pt>
                <c:pt idx="3">
                  <c:v>23.314016005785682</c:v>
                </c:pt>
                <c:pt idx="4">
                  <c:v>21.569429774060222</c:v>
                </c:pt>
                <c:pt idx="5">
                  <c:v>20.617837284028155</c:v>
                </c:pt>
                <c:pt idx="6">
                  <c:v>16.970066072238559</c:v>
                </c:pt>
                <c:pt idx="7">
                  <c:v>16.335671078883845</c:v>
                </c:pt>
                <c:pt idx="8">
                  <c:v>15.859874833867812</c:v>
                </c:pt>
                <c:pt idx="9">
                  <c:v>13.956689853803674</c:v>
                </c:pt>
                <c:pt idx="10">
                  <c:v>13.798091105464996</c:v>
                </c:pt>
                <c:pt idx="11">
                  <c:v>12.529301118755573</c:v>
                </c:pt>
                <c:pt idx="12">
                  <c:v>12.529301118755573</c:v>
                </c:pt>
                <c:pt idx="13">
                  <c:v>11.419109880384825</c:v>
                </c:pt>
                <c:pt idx="14">
                  <c:v>9.1987274036433302</c:v>
                </c:pt>
                <c:pt idx="15">
                  <c:v>7.6127399202565496</c:v>
                </c:pt>
                <c:pt idx="16">
                  <c:v>6.9783449269018369</c:v>
                </c:pt>
                <c:pt idx="17">
                  <c:v>6.026752436869768</c:v>
                </c:pt>
                <c:pt idx="18">
                  <c:v>5.8681536885310903</c:v>
                </c:pt>
                <c:pt idx="19">
                  <c:v>5.0751599468376991</c:v>
                </c:pt>
                <c:pt idx="20">
                  <c:v>4.2821662051443088</c:v>
                </c:pt>
                <c:pt idx="21">
                  <c:v>3.1719749667735622</c:v>
                </c:pt>
                <c:pt idx="22">
                  <c:v>3.013376218434884</c:v>
                </c:pt>
                <c:pt idx="23">
                  <c:v>2.8547774700962063</c:v>
                </c:pt>
                <c:pt idx="24">
                  <c:v>2.0617837284028155</c:v>
                </c:pt>
                <c:pt idx="25">
                  <c:v>2.0617837284028155</c:v>
                </c:pt>
                <c:pt idx="26">
                  <c:v>1.9031849800641374</c:v>
                </c:pt>
                <c:pt idx="27">
                  <c:v>1.2687899867094248</c:v>
                </c:pt>
                <c:pt idx="28">
                  <c:v>1.5859874833867811</c:v>
                </c:pt>
                <c:pt idx="29">
                  <c:v>1.4273887350481032</c:v>
                </c:pt>
                <c:pt idx="30">
                  <c:v>1.7445862317254592</c:v>
                </c:pt>
                <c:pt idx="31">
                  <c:v>1.5859874833867811</c:v>
                </c:pt>
                <c:pt idx="32">
                  <c:v>2.2203824767414937</c:v>
                </c:pt>
                <c:pt idx="33">
                  <c:v>2.2203824767414937</c:v>
                </c:pt>
                <c:pt idx="34">
                  <c:v>2.5375799734188496</c:v>
                </c:pt>
                <c:pt idx="35">
                  <c:v>2.5375799734188496</c:v>
                </c:pt>
                <c:pt idx="36">
                  <c:v>3.3305737151122403</c:v>
                </c:pt>
                <c:pt idx="37">
                  <c:v>4.4407649534829874</c:v>
                </c:pt>
                <c:pt idx="38">
                  <c:v>4.5993637018216651</c:v>
                </c:pt>
                <c:pt idx="39">
                  <c:v>4.1235674568056311</c:v>
                </c:pt>
                <c:pt idx="40">
                  <c:v>4.2821662051443088</c:v>
                </c:pt>
                <c:pt idx="41">
                  <c:v>4.5993637018216651</c:v>
                </c:pt>
                <c:pt idx="42">
                  <c:v>5.550956191853734</c:v>
                </c:pt>
                <c:pt idx="43">
                  <c:v>4.9165611984990214</c:v>
                </c:pt>
                <c:pt idx="44">
                  <c:v>4.1235674568056311</c:v>
                </c:pt>
                <c:pt idx="45">
                  <c:v>5.3923574435150554</c:v>
                </c:pt>
                <c:pt idx="46">
                  <c:v>5.550956191853734</c:v>
                </c:pt>
                <c:pt idx="47">
                  <c:v>5.550956191853734</c:v>
                </c:pt>
                <c:pt idx="48">
                  <c:v>6.026752436869768</c:v>
                </c:pt>
                <c:pt idx="49">
                  <c:v>5.7095549401924126</c:v>
                </c:pt>
                <c:pt idx="50">
                  <c:v>6.1853511852084457</c:v>
                </c:pt>
                <c:pt idx="51">
                  <c:v>5.7095549401924126</c:v>
                </c:pt>
                <c:pt idx="52">
                  <c:v>4.9165611984990214</c:v>
                </c:pt>
                <c:pt idx="53">
                  <c:v>4.9165611984990214</c:v>
                </c:pt>
                <c:pt idx="54">
                  <c:v>4.9165611984990214</c:v>
                </c:pt>
                <c:pt idx="55">
                  <c:v>4.2821662051443088</c:v>
                </c:pt>
                <c:pt idx="56">
                  <c:v>3.9649687084669529</c:v>
                </c:pt>
                <c:pt idx="57">
                  <c:v>3.4891724634509185</c:v>
                </c:pt>
                <c:pt idx="58">
                  <c:v>3.6477712117895966</c:v>
                </c:pt>
                <c:pt idx="59">
                  <c:v>3.8063699601282748</c:v>
                </c:pt>
                <c:pt idx="60">
                  <c:v>3.8063699601282748</c:v>
                </c:pt>
                <c:pt idx="61">
                  <c:v>3.8063699601282748</c:v>
                </c:pt>
                <c:pt idx="62">
                  <c:v>3.9649687084669529</c:v>
                </c:pt>
                <c:pt idx="63">
                  <c:v>5.2337586951763777</c:v>
                </c:pt>
                <c:pt idx="64">
                  <c:v>6.9783449269018369</c:v>
                </c:pt>
                <c:pt idx="65">
                  <c:v>7.4541411719178718</c:v>
                </c:pt>
                <c:pt idx="66">
                  <c:v>8.7229311586272971</c:v>
                </c:pt>
                <c:pt idx="67">
                  <c:v>10.467517390352755</c:v>
                </c:pt>
                <c:pt idx="68">
                  <c:v>13.639492357126317</c:v>
                </c:pt>
                <c:pt idx="69">
                  <c:v>14.273887350481029</c:v>
                </c:pt>
                <c:pt idx="70">
                  <c:v>13.005097363771604</c:v>
                </c:pt>
                <c:pt idx="71">
                  <c:v>12.370702370416891</c:v>
                </c:pt>
                <c:pt idx="72">
                  <c:v>12.370702370416891</c:v>
                </c:pt>
                <c:pt idx="73">
                  <c:v>11.101912383707468</c:v>
                </c:pt>
                <c:pt idx="74">
                  <c:v>9.6745236486593651</c:v>
                </c:pt>
                <c:pt idx="75">
                  <c:v>6.502548681885802</c:v>
                </c:pt>
                <c:pt idx="76">
                  <c:v>6.3439499335471243</c:v>
                </c:pt>
                <c:pt idx="77">
                  <c:v>7.9299374169339059</c:v>
                </c:pt>
                <c:pt idx="78">
                  <c:v>7.6127399202565496</c:v>
                </c:pt>
                <c:pt idx="79">
                  <c:v>6.9783449269018369</c:v>
                </c:pt>
                <c:pt idx="80">
                  <c:v>6.6611474302244806</c:v>
                </c:pt>
                <c:pt idx="81">
                  <c:v>6.6611474302244806</c:v>
                </c:pt>
                <c:pt idx="82">
                  <c:v>6.6611474302244806</c:v>
                </c:pt>
                <c:pt idx="83">
                  <c:v>5.8681536885310903</c:v>
                </c:pt>
                <c:pt idx="84">
                  <c:v>4.2821662051443088</c:v>
                </c:pt>
                <c:pt idx="85">
                  <c:v>3.8063699601282748</c:v>
                </c:pt>
                <c:pt idx="86">
                  <c:v>4.2821662051443088</c:v>
                </c:pt>
                <c:pt idx="87">
                  <c:v>4.9165611984990214</c:v>
                </c:pt>
                <c:pt idx="88">
                  <c:v>5.0751599468376991</c:v>
                </c:pt>
                <c:pt idx="89">
                  <c:v>5.2337586951763777</c:v>
                </c:pt>
                <c:pt idx="90">
                  <c:v>6.502548681885802</c:v>
                </c:pt>
                <c:pt idx="91">
                  <c:v>8.4057336619499399</c:v>
                </c:pt>
                <c:pt idx="92">
                  <c:v>9.9917211453367205</c:v>
                </c:pt>
                <c:pt idx="93">
                  <c:v>10.308918642014078</c:v>
                </c:pt>
                <c:pt idx="94">
                  <c:v>10.626116138691433</c:v>
                </c:pt>
                <c:pt idx="95">
                  <c:v>10.308918642014078</c:v>
                </c:pt>
                <c:pt idx="96">
                  <c:v>10.626116138691433</c:v>
                </c:pt>
                <c:pt idx="97">
                  <c:v>10.467517390352755</c:v>
                </c:pt>
                <c:pt idx="98">
                  <c:v>9.9917211453367205</c:v>
                </c:pt>
                <c:pt idx="99">
                  <c:v>10.150319893675398</c:v>
                </c:pt>
                <c:pt idx="100">
                  <c:v>10.626116138691433</c:v>
                </c:pt>
                <c:pt idx="101">
                  <c:v>10.626116138691433</c:v>
                </c:pt>
                <c:pt idx="102">
                  <c:v>10.784714887030111</c:v>
                </c:pt>
                <c:pt idx="103">
                  <c:v>11.260511132046146</c:v>
                </c:pt>
                <c:pt idx="104">
                  <c:v>11.894906125400858</c:v>
                </c:pt>
                <c:pt idx="105">
                  <c:v>13.005097363771604</c:v>
                </c:pt>
                <c:pt idx="106">
                  <c:v>12.846498615432926</c:v>
                </c:pt>
                <c:pt idx="107">
                  <c:v>14.591084847158386</c:v>
                </c:pt>
                <c:pt idx="108">
                  <c:v>15.225479840513099</c:v>
                </c:pt>
                <c:pt idx="109">
                  <c:v>19.190448548980054</c:v>
                </c:pt>
                <c:pt idx="110">
                  <c:v>18.55605355562534</c:v>
                </c:pt>
                <c:pt idx="111">
                  <c:v>17.60446106559327</c:v>
                </c:pt>
                <c:pt idx="112">
                  <c:v>17.445862317254594</c:v>
                </c:pt>
                <c:pt idx="113">
                  <c:v>17.128664820577235</c:v>
                </c:pt>
                <c:pt idx="114">
                  <c:v>16.970066072238559</c:v>
                </c:pt>
                <c:pt idx="115">
                  <c:v>17.60446106559327</c:v>
                </c:pt>
                <c:pt idx="116">
                  <c:v>16.970066072238559</c:v>
                </c:pt>
                <c:pt idx="117">
                  <c:v>18.238856058947984</c:v>
                </c:pt>
                <c:pt idx="118">
                  <c:v>20.935034780705511</c:v>
                </c:pt>
                <c:pt idx="119">
                  <c:v>22.362423515753616</c:v>
                </c:pt>
                <c:pt idx="120">
                  <c:v>25.058602237511145</c:v>
                </c:pt>
                <c:pt idx="121">
                  <c:v>31.243953422719589</c:v>
                </c:pt>
                <c:pt idx="122">
                  <c:v>36.319113369557286</c:v>
                </c:pt>
                <c:pt idx="123">
                  <c:v>36.794909614573321</c:v>
                </c:pt>
                <c:pt idx="124">
                  <c:v>36.794909614573321</c:v>
                </c:pt>
                <c:pt idx="125">
                  <c:v>40.601279574701593</c:v>
                </c:pt>
                <c:pt idx="126">
                  <c:v>43.456057044797802</c:v>
                </c:pt>
                <c:pt idx="127">
                  <c:v>52.020389455086416</c:v>
                </c:pt>
                <c:pt idx="128">
                  <c:v>54.557969428505267</c:v>
                </c:pt>
                <c:pt idx="129">
                  <c:v>54.082173183489232</c:v>
                </c:pt>
                <c:pt idx="130">
                  <c:v>55.033765673521302</c:v>
                </c:pt>
                <c:pt idx="131">
                  <c:v>55.192364421859985</c:v>
                </c:pt>
                <c:pt idx="132">
                  <c:v>63.280900587132571</c:v>
                </c:pt>
                <c:pt idx="133">
                  <c:v>75.493004209210781</c:v>
                </c:pt>
                <c:pt idx="134">
                  <c:v>83.898737871160719</c:v>
                </c:pt>
                <c:pt idx="135">
                  <c:v>95.317847751545543</c:v>
                </c:pt>
                <c:pt idx="136">
                  <c:v>113.39810506215484</c:v>
                </c:pt>
                <c:pt idx="137">
                  <c:v>127.67199241263587</c:v>
                </c:pt>
                <c:pt idx="138">
                  <c:v>133.06434985615095</c:v>
                </c:pt>
                <c:pt idx="139">
                  <c:v>147.81403345164802</c:v>
                </c:pt>
                <c:pt idx="140">
                  <c:v>177.94779563599684</c:v>
                </c:pt>
                <c:pt idx="141">
                  <c:v>194.12486796654201</c:v>
                </c:pt>
                <c:pt idx="142">
                  <c:v>226.16181513095501</c:v>
                </c:pt>
                <c:pt idx="143">
                  <c:v>266.92169345399526</c:v>
                </c:pt>
                <c:pt idx="144">
                  <c:v>293.09048692987716</c:v>
                </c:pt>
                <c:pt idx="145">
                  <c:v>307.04717678368087</c:v>
                </c:pt>
                <c:pt idx="146">
                  <c:v>318.783484160743</c:v>
                </c:pt>
                <c:pt idx="147">
                  <c:v>362.239541205540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2EF-41E2-A2D7-553F333F29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C$122:$C$274</c:f>
              <c:numCache>
                <c:formatCode>General</c:formatCode>
                <c:ptCount val="15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2EF-41E2-A2D7-553F333F297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1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D$122:$D$274</c:f>
              <c:numCache>
                <c:formatCode>General</c:formatCode>
                <c:ptCount val="153"/>
                <c:pt idx="122">
                  <c:v>31.243953422719589</c:v>
                </c:pt>
                <c:pt idx="123">
                  <c:v>32.512743409429014</c:v>
                </c:pt>
                <c:pt idx="124">
                  <c:v>33.781533396138435</c:v>
                </c:pt>
                <c:pt idx="125">
                  <c:v>35.20892213118654</c:v>
                </c:pt>
                <c:pt idx="126">
                  <c:v>36.636310866234645</c:v>
                </c:pt>
                <c:pt idx="127">
                  <c:v>38.063699601282742</c:v>
                </c:pt>
                <c:pt idx="128">
                  <c:v>39.64968708466953</c:v>
                </c:pt>
                <c:pt idx="129">
                  <c:v>41.077075819717628</c:v>
                </c:pt>
                <c:pt idx="130">
                  <c:v>42.663063303104416</c:v>
                </c:pt>
                <c:pt idx="131">
                  <c:v>44.249050786491196</c:v>
                </c:pt>
                <c:pt idx="132">
                  <c:v>45.83503826987797</c:v>
                </c:pt>
                <c:pt idx="133">
                  <c:v>47.579624501603433</c:v>
                </c:pt>
                <c:pt idx="134">
                  <c:v>49.32421073332889</c:v>
                </c:pt>
                <c:pt idx="135">
                  <c:v>51.068796965054347</c:v>
                </c:pt>
                <c:pt idx="136">
                  <c:v>52.971981945118486</c:v>
                </c:pt>
                <c:pt idx="137">
                  <c:v>54.875166925182626</c:v>
                </c:pt>
                <c:pt idx="138">
                  <c:v>56.936950653585441</c:v>
                </c:pt>
                <c:pt idx="139">
                  <c:v>58.998734381988257</c:v>
                </c:pt>
                <c:pt idx="140">
                  <c:v>61.060518110391072</c:v>
                </c:pt>
                <c:pt idx="141">
                  <c:v>63.439499335471247</c:v>
                </c:pt>
                <c:pt idx="142">
                  <c:v>65.818480560551421</c:v>
                </c:pt>
                <c:pt idx="143">
                  <c:v>68.197461785631589</c:v>
                </c:pt>
                <c:pt idx="144">
                  <c:v>70.735041759050446</c:v>
                </c:pt>
                <c:pt idx="145">
                  <c:v>73.27262173246929</c:v>
                </c:pt>
                <c:pt idx="146">
                  <c:v>75.968800454226809</c:v>
                </c:pt>
                <c:pt idx="147">
                  <c:v>78.664979175984342</c:v>
                </c:pt>
                <c:pt idx="148">
                  <c:v>81.361157897741876</c:v>
                </c:pt>
                <c:pt idx="149">
                  <c:v>84.215935367838071</c:v>
                </c:pt>
                <c:pt idx="150">
                  <c:v>87.229311586272956</c:v>
                </c:pt>
                <c:pt idx="151">
                  <c:v>90.242687804707842</c:v>
                </c:pt>
                <c:pt idx="152">
                  <c:v>93.5732615198200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EF-41E2-A2D7-553F333F297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E$122:$E$274</c:f>
              <c:numCache>
                <c:formatCode>General</c:formatCode>
                <c:ptCount val="153"/>
                <c:pt idx="122">
                  <c:v>31.402552171058268</c:v>
                </c:pt>
                <c:pt idx="123">
                  <c:v>32.988539654445049</c:v>
                </c:pt>
                <c:pt idx="124">
                  <c:v>34.733125886170505</c:v>
                </c:pt>
                <c:pt idx="125">
                  <c:v>36.477712117895969</c:v>
                </c:pt>
                <c:pt idx="126">
                  <c:v>38.380897097960109</c:v>
                </c:pt>
                <c:pt idx="127">
                  <c:v>40.442680826362917</c:v>
                </c:pt>
                <c:pt idx="128">
                  <c:v>42.821662051443091</c:v>
                </c:pt>
                <c:pt idx="129">
                  <c:v>45.042044528184583</c:v>
                </c:pt>
                <c:pt idx="130">
                  <c:v>47.42102575326475</c:v>
                </c:pt>
                <c:pt idx="131">
                  <c:v>49.800006978344925</c:v>
                </c:pt>
                <c:pt idx="132">
                  <c:v>52.496185700102451</c:v>
                </c:pt>
                <c:pt idx="133">
                  <c:v>55.192364421859985</c:v>
                </c:pt>
                <c:pt idx="134">
                  <c:v>58.20574064029487</c:v>
                </c:pt>
                <c:pt idx="135">
                  <c:v>61.219116858729755</c:v>
                </c:pt>
                <c:pt idx="136">
                  <c:v>64.39109182550331</c:v>
                </c:pt>
                <c:pt idx="137">
                  <c:v>67.563066792276871</c:v>
                </c:pt>
                <c:pt idx="138">
                  <c:v>71.052239255727798</c:v>
                </c:pt>
                <c:pt idx="139">
                  <c:v>74.700010467517387</c:v>
                </c:pt>
                <c:pt idx="140">
                  <c:v>78.664979175984342</c:v>
                </c:pt>
                <c:pt idx="141">
                  <c:v>82.629947884451298</c:v>
                </c:pt>
                <c:pt idx="142">
                  <c:v>86.753515341256929</c:v>
                </c:pt>
                <c:pt idx="143">
                  <c:v>91.194280294739912</c:v>
                </c:pt>
                <c:pt idx="144">
                  <c:v>95.79364399656157</c:v>
                </c:pt>
                <c:pt idx="145">
                  <c:v>100.55160644672192</c:v>
                </c:pt>
                <c:pt idx="146">
                  <c:v>105.62676639355962</c:v>
                </c:pt>
                <c:pt idx="147">
                  <c:v>110.86052508873601</c:v>
                </c:pt>
                <c:pt idx="148">
                  <c:v>116.41148128058974</c:v>
                </c:pt>
                <c:pt idx="149">
                  <c:v>122.27963496912082</c:v>
                </c:pt>
                <c:pt idx="150">
                  <c:v>128.46498615432927</c:v>
                </c:pt>
                <c:pt idx="151">
                  <c:v>134.96753483621509</c:v>
                </c:pt>
                <c:pt idx="152">
                  <c:v>141.787281014778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2EF-41E2-A2D7-553F333F2977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F$122:$F$274</c:f>
              <c:numCache>
                <c:formatCode>General</c:formatCode>
                <c:ptCount val="153"/>
                <c:pt idx="122">
                  <c:v>31.56115091939694</c:v>
                </c:pt>
                <c:pt idx="123">
                  <c:v>33.464335899461084</c:v>
                </c:pt>
                <c:pt idx="124">
                  <c:v>35.526119627863899</c:v>
                </c:pt>
                <c:pt idx="125">
                  <c:v>37.746502104605391</c:v>
                </c:pt>
                <c:pt idx="126">
                  <c:v>40.125483329685558</c:v>
                </c:pt>
                <c:pt idx="127">
                  <c:v>42.821662051443091</c:v>
                </c:pt>
                <c:pt idx="128">
                  <c:v>45.993637018216653</c:v>
                </c:pt>
                <c:pt idx="129">
                  <c:v>49.007013236651531</c:v>
                </c:pt>
                <c:pt idx="130">
                  <c:v>52.178988203425099</c:v>
                </c:pt>
                <c:pt idx="131">
                  <c:v>55.509561918537337</c:v>
                </c:pt>
                <c:pt idx="132">
                  <c:v>59.15733313032694</c:v>
                </c:pt>
                <c:pt idx="133">
                  <c:v>63.122301838793881</c:v>
                </c:pt>
                <c:pt idx="134">
                  <c:v>67.404468043938195</c:v>
                </c:pt>
                <c:pt idx="135">
                  <c:v>71.845232997421192</c:v>
                </c:pt>
                <c:pt idx="136">
                  <c:v>76.603195447581527</c:v>
                </c:pt>
                <c:pt idx="137">
                  <c:v>81.519756646080552</c:v>
                </c:pt>
                <c:pt idx="138">
                  <c:v>86.912114089595605</c:v>
                </c:pt>
                <c:pt idx="139">
                  <c:v>92.621669029788009</c:v>
                </c:pt>
                <c:pt idx="140">
                  <c:v>98.80702021499647</c:v>
                </c:pt>
                <c:pt idx="141">
                  <c:v>105.30956889688227</c:v>
                </c:pt>
                <c:pt idx="142">
                  <c:v>112.12931507544543</c:v>
                </c:pt>
                <c:pt idx="143">
                  <c:v>119.42485749902461</c:v>
                </c:pt>
                <c:pt idx="144">
                  <c:v>127.19619616761983</c:v>
                </c:pt>
                <c:pt idx="145">
                  <c:v>135.44333108123112</c:v>
                </c:pt>
                <c:pt idx="146">
                  <c:v>144.16626223985841</c:v>
                </c:pt>
                <c:pt idx="147">
                  <c:v>153.36498964350173</c:v>
                </c:pt>
                <c:pt idx="148">
                  <c:v>163.19811204049978</c:v>
                </c:pt>
                <c:pt idx="149">
                  <c:v>173.66562943085253</c:v>
                </c:pt>
                <c:pt idx="150">
                  <c:v>184.76754181455999</c:v>
                </c:pt>
                <c:pt idx="151">
                  <c:v>196.66244793996086</c:v>
                </c:pt>
                <c:pt idx="152">
                  <c:v>209.35034780705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B2EF-41E2-A2D7-553F333F2977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4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G$122:$G$274</c:f>
              <c:numCache>
                <c:formatCode>General</c:formatCode>
                <c:ptCount val="153"/>
                <c:pt idx="122">
                  <c:v>31.56115091939694</c:v>
                </c:pt>
                <c:pt idx="123">
                  <c:v>33.464335899461084</c:v>
                </c:pt>
                <c:pt idx="124">
                  <c:v>35.526119627863899</c:v>
                </c:pt>
                <c:pt idx="125">
                  <c:v>37.746502104605391</c:v>
                </c:pt>
                <c:pt idx="126">
                  <c:v>40.125483329685558</c:v>
                </c:pt>
                <c:pt idx="127">
                  <c:v>42.821662051443091</c:v>
                </c:pt>
                <c:pt idx="128">
                  <c:v>45.993637018216653</c:v>
                </c:pt>
                <c:pt idx="129">
                  <c:v>49.007013236651531</c:v>
                </c:pt>
                <c:pt idx="130">
                  <c:v>52.178988203425099</c:v>
                </c:pt>
                <c:pt idx="131">
                  <c:v>55.509561918537337</c:v>
                </c:pt>
                <c:pt idx="132">
                  <c:v>59.15733313032694</c:v>
                </c:pt>
                <c:pt idx="133">
                  <c:v>63.915295580487282</c:v>
                </c:pt>
                <c:pt idx="134">
                  <c:v>69.307653024002335</c:v>
                </c:pt>
                <c:pt idx="135">
                  <c:v>75.175806712533415</c:v>
                </c:pt>
                <c:pt idx="136">
                  <c:v>81.678355394419228</c:v>
                </c:pt>
                <c:pt idx="137">
                  <c:v>88.815299069659744</c:v>
                </c:pt>
                <c:pt idx="138">
                  <c:v>97.062433983271006</c:v>
                </c:pt>
                <c:pt idx="139">
                  <c:v>106.419760135253</c:v>
                </c:pt>
                <c:pt idx="140">
                  <c:v>116.25288253225105</c:v>
                </c:pt>
                <c:pt idx="141">
                  <c:v>126.7203999226038</c:v>
                </c:pt>
                <c:pt idx="142">
                  <c:v>138.13950980298864</c:v>
                </c:pt>
                <c:pt idx="143">
                  <c:v>150.66881092174421</c:v>
                </c:pt>
                <c:pt idx="144">
                  <c:v>164.46690202720922</c:v>
                </c:pt>
                <c:pt idx="145">
                  <c:v>179.5337831193836</c:v>
                </c:pt>
                <c:pt idx="146">
                  <c:v>195.86945419826748</c:v>
                </c:pt>
                <c:pt idx="147">
                  <c:v>213.47391526386076</c:v>
                </c:pt>
                <c:pt idx="148">
                  <c:v>232.6643638128408</c:v>
                </c:pt>
                <c:pt idx="149">
                  <c:v>253.75799734188499</c:v>
                </c:pt>
                <c:pt idx="150">
                  <c:v>276.75481585099328</c:v>
                </c:pt>
                <c:pt idx="151">
                  <c:v>301.97201683684312</c:v>
                </c:pt>
                <c:pt idx="152">
                  <c:v>329.251001551095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B2EF-41E2-A2D7-553F333F29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44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4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B$244:$B$427</c:f>
              <c:numCache>
                <c:formatCode>0</c:formatCode>
                <c:ptCount val="184"/>
                <c:pt idx="0">
                  <c:v>175</c:v>
                </c:pt>
                <c:pt idx="1">
                  <c:v>11</c:v>
                </c:pt>
                <c:pt idx="2">
                  <c:v>159</c:v>
                </c:pt>
                <c:pt idx="3">
                  <c:v>194</c:v>
                </c:pt>
                <c:pt idx="4">
                  <c:v>166</c:v>
                </c:pt>
                <c:pt idx="5">
                  <c:v>131</c:v>
                </c:pt>
                <c:pt idx="6">
                  <c:v>95</c:v>
                </c:pt>
                <c:pt idx="7">
                  <c:v>104</c:v>
                </c:pt>
                <c:pt idx="8">
                  <c:v>20</c:v>
                </c:pt>
                <c:pt idx="9">
                  <c:v>100</c:v>
                </c:pt>
                <c:pt idx="10">
                  <c:v>149</c:v>
                </c:pt>
                <c:pt idx="11">
                  <c:v>102</c:v>
                </c:pt>
                <c:pt idx="12">
                  <c:v>120</c:v>
                </c:pt>
                <c:pt idx="13">
                  <c:v>68</c:v>
                </c:pt>
                <c:pt idx="14">
                  <c:v>68</c:v>
                </c:pt>
                <c:pt idx="15">
                  <c:v>6</c:v>
                </c:pt>
                <c:pt idx="16">
                  <c:v>85</c:v>
                </c:pt>
                <c:pt idx="17">
                  <c:v>74</c:v>
                </c:pt>
                <c:pt idx="18">
                  <c:v>51</c:v>
                </c:pt>
                <c:pt idx="19">
                  <c:v>87</c:v>
                </c:pt>
                <c:pt idx="20">
                  <c:v>51</c:v>
                </c:pt>
                <c:pt idx="21">
                  <c:v>48</c:v>
                </c:pt>
                <c:pt idx="22">
                  <c:v>5</c:v>
                </c:pt>
                <c:pt idx="23">
                  <c:v>64</c:v>
                </c:pt>
                <c:pt idx="24">
                  <c:v>66</c:v>
                </c:pt>
                <c:pt idx="25">
                  <c:v>28</c:v>
                </c:pt>
                <c:pt idx="26">
                  <c:v>42</c:v>
                </c:pt>
                <c:pt idx="27">
                  <c:v>46</c:v>
                </c:pt>
                <c:pt idx="28">
                  <c:v>30</c:v>
                </c:pt>
                <c:pt idx="29">
                  <c:v>6</c:v>
                </c:pt>
                <c:pt idx="30">
                  <c:v>35</c:v>
                </c:pt>
                <c:pt idx="31">
                  <c:v>56</c:v>
                </c:pt>
                <c:pt idx="32">
                  <c:v>35</c:v>
                </c:pt>
                <c:pt idx="33">
                  <c:v>22</c:v>
                </c:pt>
                <c:pt idx="34">
                  <c:v>24</c:v>
                </c:pt>
                <c:pt idx="35">
                  <c:v>10</c:v>
                </c:pt>
                <c:pt idx="36">
                  <c:v>0</c:v>
                </c:pt>
                <c:pt idx="37">
                  <c:v>21</c:v>
                </c:pt>
                <c:pt idx="38">
                  <c:v>24</c:v>
                </c:pt>
                <c:pt idx="39">
                  <c:v>18</c:v>
                </c:pt>
                <c:pt idx="40">
                  <c:v>11</c:v>
                </c:pt>
                <c:pt idx="41">
                  <c:v>6</c:v>
                </c:pt>
                <c:pt idx="42">
                  <c:v>7</c:v>
                </c:pt>
                <c:pt idx="43">
                  <c:v>0</c:v>
                </c:pt>
                <c:pt idx="44">
                  <c:v>12</c:v>
                </c:pt>
                <c:pt idx="45">
                  <c:v>11</c:v>
                </c:pt>
                <c:pt idx="46">
                  <c:v>5</c:v>
                </c:pt>
                <c:pt idx="47">
                  <c:v>6</c:v>
                </c:pt>
                <c:pt idx="48">
                  <c:v>8</c:v>
                </c:pt>
                <c:pt idx="49">
                  <c:v>9</c:v>
                </c:pt>
                <c:pt idx="50">
                  <c:v>1</c:v>
                </c:pt>
                <c:pt idx="51">
                  <c:v>8</c:v>
                </c:pt>
                <c:pt idx="52">
                  <c:v>10</c:v>
                </c:pt>
                <c:pt idx="53">
                  <c:v>12</c:v>
                </c:pt>
                <c:pt idx="54">
                  <c:v>3</c:v>
                </c:pt>
                <c:pt idx="55">
                  <c:v>2</c:v>
                </c:pt>
                <c:pt idx="56">
                  <c:v>4</c:v>
                </c:pt>
                <c:pt idx="57">
                  <c:v>4</c:v>
                </c:pt>
                <c:pt idx="58">
                  <c:v>5</c:v>
                </c:pt>
                <c:pt idx="59">
                  <c:v>10</c:v>
                </c:pt>
                <c:pt idx="60">
                  <c:v>2</c:v>
                </c:pt>
                <c:pt idx="61">
                  <c:v>1</c:v>
                </c:pt>
                <c:pt idx="62">
                  <c:v>8</c:v>
                </c:pt>
                <c:pt idx="63">
                  <c:v>1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11</c:v>
                </c:pt>
                <c:pt idx="68">
                  <c:v>3</c:v>
                </c:pt>
                <c:pt idx="69">
                  <c:v>9</c:v>
                </c:pt>
                <c:pt idx="70">
                  <c:v>4</c:v>
                </c:pt>
                <c:pt idx="71">
                  <c:v>1</c:v>
                </c:pt>
                <c:pt idx="72">
                  <c:v>3</c:v>
                </c:pt>
                <c:pt idx="73">
                  <c:v>4</c:v>
                </c:pt>
                <c:pt idx="74">
                  <c:v>9</c:v>
                </c:pt>
                <c:pt idx="75">
                  <c:v>5</c:v>
                </c:pt>
                <c:pt idx="76">
                  <c:v>4</c:v>
                </c:pt>
                <c:pt idx="77">
                  <c:v>5</c:v>
                </c:pt>
                <c:pt idx="78">
                  <c:v>2</c:v>
                </c:pt>
                <c:pt idx="79">
                  <c:v>4</c:v>
                </c:pt>
                <c:pt idx="80">
                  <c:v>6</c:v>
                </c:pt>
                <c:pt idx="81">
                  <c:v>6</c:v>
                </c:pt>
                <c:pt idx="82">
                  <c:v>11</c:v>
                </c:pt>
                <c:pt idx="83">
                  <c:v>4</c:v>
                </c:pt>
                <c:pt idx="84">
                  <c:v>4</c:v>
                </c:pt>
                <c:pt idx="85">
                  <c:v>2</c:v>
                </c:pt>
                <c:pt idx="86">
                  <c:v>4</c:v>
                </c:pt>
                <c:pt idx="87">
                  <c:v>6</c:v>
                </c:pt>
                <c:pt idx="88">
                  <c:v>2</c:v>
                </c:pt>
                <c:pt idx="89">
                  <c:v>7</c:v>
                </c:pt>
                <c:pt idx="90">
                  <c:v>2</c:v>
                </c:pt>
                <c:pt idx="91">
                  <c:v>1</c:v>
                </c:pt>
                <c:pt idx="92">
                  <c:v>1</c:v>
                </c:pt>
                <c:pt idx="93">
                  <c:v>4</c:v>
                </c:pt>
                <c:pt idx="94">
                  <c:v>2</c:v>
                </c:pt>
                <c:pt idx="95">
                  <c:v>3</c:v>
                </c:pt>
                <c:pt idx="96">
                  <c:v>3</c:v>
                </c:pt>
                <c:pt idx="97">
                  <c:v>5</c:v>
                </c:pt>
                <c:pt idx="98">
                  <c:v>5</c:v>
                </c:pt>
                <c:pt idx="99">
                  <c:v>2</c:v>
                </c:pt>
                <c:pt idx="100">
                  <c:v>4</c:v>
                </c:pt>
                <c:pt idx="101">
                  <c:v>2</c:v>
                </c:pt>
                <c:pt idx="102">
                  <c:v>6</c:v>
                </c:pt>
                <c:pt idx="103">
                  <c:v>3</c:v>
                </c:pt>
                <c:pt idx="104">
                  <c:v>6</c:v>
                </c:pt>
                <c:pt idx="105">
                  <c:v>4</c:v>
                </c:pt>
                <c:pt idx="106">
                  <c:v>1</c:v>
                </c:pt>
                <c:pt idx="107">
                  <c:v>3</c:v>
                </c:pt>
                <c:pt idx="108">
                  <c:v>6</c:v>
                </c:pt>
                <c:pt idx="109">
                  <c:v>3</c:v>
                </c:pt>
                <c:pt idx="110">
                  <c:v>8</c:v>
                </c:pt>
                <c:pt idx="111">
                  <c:v>5</c:v>
                </c:pt>
                <c:pt idx="112">
                  <c:v>7</c:v>
                </c:pt>
                <c:pt idx="113">
                  <c:v>0</c:v>
                </c:pt>
                <c:pt idx="114">
                  <c:v>4</c:v>
                </c:pt>
                <c:pt idx="115">
                  <c:v>8</c:v>
                </c:pt>
                <c:pt idx="116">
                  <c:v>10</c:v>
                </c:pt>
                <c:pt idx="117">
                  <c:v>3</c:v>
                </c:pt>
                <c:pt idx="118">
                  <c:v>8</c:v>
                </c:pt>
                <c:pt idx="119">
                  <c:v>9</c:v>
                </c:pt>
                <c:pt idx="120">
                  <c:v>1</c:v>
                </c:pt>
                <c:pt idx="121">
                  <c:v>8</c:v>
                </c:pt>
                <c:pt idx="122">
                  <c:v>8</c:v>
                </c:pt>
                <c:pt idx="123">
                  <c:v>6</c:v>
                </c:pt>
                <c:pt idx="124">
                  <c:v>13</c:v>
                </c:pt>
                <c:pt idx="125">
                  <c:v>26</c:v>
                </c:pt>
                <c:pt idx="126">
                  <c:v>14</c:v>
                </c:pt>
                <c:pt idx="127">
                  <c:v>6</c:v>
                </c:pt>
                <c:pt idx="128">
                  <c:v>19</c:v>
                </c:pt>
                <c:pt idx="129">
                  <c:v>19</c:v>
                </c:pt>
                <c:pt idx="130">
                  <c:v>19</c:v>
                </c:pt>
                <c:pt idx="131">
                  <c:v>22</c:v>
                </c:pt>
                <c:pt idx="132">
                  <c:v>28</c:v>
                </c:pt>
                <c:pt idx="133">
                  <c:v>14</c:v>
                </c:pt>
                <c:pt idx="134">
                  <c:v>3</c:v>
                </c:pt>
                <c:pt idx="135">
                  <c:v>30</c:v>
                </c:pt>
                <c:pt idx="136">
                  <c:v>37</c:v>
                </c:pt>
                <c:pt idx="137">
                  <c:v>22</c:v>
                </c:pt>
                <c:pt idx="138">
                  <c:v>21</c:v>
                </c:pt>
                <c:pt idx="139">
                  <c:v>26</c:v>
                </c:pt>
                <c:pt idx="140">
                  <c:v>16</c:v>
                </c:pt>
                <c:pt idx="141">
                  <c:v>2</c:v>
                </c:pt>
                <c:pt idx="142">
                  <c:v>14</c:v>
                </c:pt>
                <c:pt idx="143">
                  <c:v>25</c:v>
                </c:pt>
                <c:pt idx="144">
                  <c:v>23</c:v>
                </c:pt>
                <c:pt idx="145">
                  <c:v>16</c:v>
                </c:pt>
                <c:pt idx="146">
                  <c:v>15</c:v>
                </c:pt>
                <c:pt idx="147">
                  <c:v>34</c:v>
                </c:pt>
                <c:pt idx="148">
                  <c:v>12</c:v>
                </c:pt>
                <c:pt idx="149">
                  <c:v>29</c:v>
                </c:pt>
                <c:pt idx="150">
                  <c:v>23</c:v>
                </c:pt>
                <c:pt idx="151">
                  <c:v>31</c:v>
                </c:pt>
                <c:pt idx="152">
                  <c:v>34</c:v>
                </c:pt>
                <c:pt idx="153">
                  <c:v>45</c:v>
                </c:pt>
                <c:pt idx="154">
                  <c:v>29</c:v>
                </c:pt>
                <c:pt idx="155">
                  <c:v>16</c:v>
                </c:pt>
                <c:pt idx="156">
                  <c:v>32</c:v>
                </c:pt>
                <c:pt idx="157">
                  <c:v>62</c:v>
                </c:pt>
                <c:pt idx="158">
                  <c:v>51</c:v>
                </c:pt>
                <c:pt idx="159">
                  <c:v>63</c:v>
                </c:pt>
                <c:pt idx="160">
                  <c:v>44</c:v>
                </c:pt>
                <c:pt idx="161">
                  <c:v>36</c:v>
                </c:pt>
                <c:pt idx="162">
                  <c:v>9</c:v>
                </c:pt>
                <c:pt idx="163">
                  <c:v>56</c:v>
                </c:pt>
                <c:pt idx="164">
                  <c:v>90</c:v>
                </c:pt>
                <c:pt idx="165">
                  <c:v>56</c:v>
                </c:pt>
                <c:pt idx="166">
                  <c:v>73</c:v>
                </c:pt>
                <c:pt idx="167">
                  <c:v>86</c:v>
                </c:pt>
                <c:pt idx="168">
                  <c:v>61</c:v>
                </c:pt>
                <c:pt idx="169">
                  <c:v>22</c:v>
                </c:pt>
                <c:pt idx="170">
                  <c:v>107</c:v>
                </c:pt>
                <c:pt idx="171">
                  <c:v>170</c:v>
                </c:pt>
                <c:pt idx="172">
                  <c:v>150</c:v>
                </c:pt>
                <c:pt idx="173">
                  <c:v>171</c:v>
                </c:pt>
                <c:pt idx="174">
                  <c:v>266</c:v>
                </c:pt>
                <c:pt idx="175">
                  <c:v>165</c:v>
                </c:pt>
                <c:pt idx="176">
                  <c:v>80</c:v>
                </c:pt>
                <c:pt idx="177">
                  <c:v>245</c:v>
                </c:pt>
                <c:pt idx="178">
                  <c:v>4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38-4F6A-9204-1B45B90315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C$244:$C$427</c:f>
              <c:numCache>
                <c:formatCode>General</c:formatCode>
                <c:ptCount val="18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838-4F6A-9204-1B45B90315E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D$244:$D$427</c:f>
              <c:numCache>
                <c:formatCode>General</c:formatCode>
                <c:ptCount val="184"/>
                <c:pt idx="73">
                  <c:v>0</c:v>
                </c:pt>
                <c:pt idx="153">
                  <c:v>36</c:v>
                </c:pt>
                <c:pt idx="154">
                  <c:v>37</c:v>
                </c:pt>
                <c:pt idx="155">
                  <c:v>39</c:v>
                </c:pt>
                <c:pt idx="156">
                  <c:v>40</c:v>
                </c:pt>
                <c:pt idx="157">
                  <c:v>42</c:v>
                </c:pt>
                <c:pt idx="158">
                  <c:v>43</c:v>
                </c:pt>
                <c:pt idx="159">
                  <c:v>45</c:v>
                </c:pt>
                <c:pt idx="160">
                  <c:v>46</c:v>
                </c:pt>
                <c:pt idx="161">
                  <c:v>48</c:v>
                </c:pt>
                <c:pt idx="162">
                  <c:v>50</c:v>
                </c:pt>
                <c:pt idx="163">
                  <c:v>52</c:v>
                </c:pt>
                <c:pt idx="164">
                  <c:v>54</c:v>
                </c:pt>
                <c:pt idx="165">
                  <c:v>56</c:v>
                </c:pt>
                <c:pt idx="166">
                  <c:v>58</c:v>
                </c:pt>
                <c:pt idx="167">
                  <c:v>60</c:v>
                </c:pt>
                <c:pt idx="168">
                  <c:v>62</c:v>
                </c:pt>
                <c:pt idx="169">
                  <c:v>64</c:v>
                </c:pt>
                <c:pt idx="170">
                  <c:v>67</c:v>
                </c:pt>
                <c:pt idx="171">
                  <c:v>69</c:v>
                </c:pt>
                <c:pt idx="172">
                  <c:v>72</c:v>
                </c:pt>
                <c:pt idx="173">
                  <c:v>74</c:v>
                </c:pt>
                <c:pt idx="174">
                  <c:v>77</c:v>
                </c:pt>
                <c:pt idx="175">
                  <c:v>80</c:v>
                </c:pt>
                <c:pt idx="176">
                  <c:v>82</c:v>
                </c:pt>
                <c:pt idx="177">
                  <c:v>85</c:v>
                </c:pt>
                <c:pt idx="178">
                  <c:v>88</c:v>
                </c:pt>
                <c:pt idx="179">
                  <c:v>92</c:v>
                </c:pt>
                <c:pt idx="180">
                  <c:v>95</c:v>
                </c:pt>
                <c:pt idx="181">
                  <c:v>98</c:v>
                </c:pt>
                <c:pt idx="182">
                  <c:v>102</c:v>
                </c:pt>
                <c:pt idx="183">
                  <c:v>1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838-4F6A-9204-1B45B90315E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E$244:$E$427</c:f>
              <c:numCache>
                <c:formatCode>General</c:formatCode>
                <c:ptCount val="184"/>
                <c:pt idx="153">
                  <c:v>37</c:v>
                </c:pt>
                <c:pt idx="154">
                  <c:v>39</c:v>
                </c:pt>
                <c:pt idx="155">
                  <c:v>41</c:v>
                </c:pt>
                <c:pt idx="156">
                  <c:v>43</c:v>
                </c:pt>
                <c:pt idx="157">
                  <c:v>45</c:v>
                </c:pt>
                <c:pt idx="158">
                  <c:v>48</c:v>
                </c:pt>
                <c:pt idx="159">
                  <c:v>50</c:v>
                </c:pt>
                <c:pt idx="160">
                  <c:v>53</c:v>
                </c:pt>
                <c:pt idx="161">
                  <c:v>56</c:v>
                </c:pt>
                <c:pt idx="162">
                  <c:v>59</c:v>
                </c:pt>
                <c:pt idx="163">
                  <c:v>61</c:v>
                </c:pt>
                <c:pt idx="164">
                  <c:v>65</c:v>
                </c:pt>
                <c:pt idx="165">
                  <c:v>68</c:v>
                </c:pt>
                <c:pt idx="166">
                  <c:v>72</c:v>
                </c:pt>
                <c:pt idx="167">
                  <c:v>75</c:v>
                </c:pt>
                <c:pt idx="168">
                  <c:v>79</c:v>
                </c:pt>
                <c:pt idx="169">
                  <c:v>83</c:v>
                </c:pt>
                <c:pt idx="170">
                  <c:v>87</c:v>
                </c:pt>
                <c:pt idx="171">
                  <c:v>92</c:v>
                </c:pt>
                <c:pt idx="172">
                  <c:v>97</c:v>
                </c:pt>
                <c:pt idx="173">
                  <c:v>102</c:v>
                </c:pt>
                <c:pt idx="174">
                  <c:v>107</c:v>
                </c:pt>
                <c:pt idx="175">
                  <c:v>112</c:v>
                </c:pt>
                <c:pt idx="176">
                  <c:v>118</c:v>
                </c:pt>
                <c:pt idx="177">
                  <c:v>124</c:v>
                </c:pt>
                <c:pt idx="178">
                  <c:v>130</c:v>
                </c:pt>
                <c:pt idx="179">
                  <c:v>136</c:v>
                </c:pt>
                <c:pt idx="180">
                  <c:v>143</c:v>
                </c:pt>
                <c:pt idx="181">
                  <c:v>151</c:v>
                </c:pt>
                <c:pt idx="182">
                  <c:v>158</c:v>
                </c:pt>
                <c:pt idx="183">
                  <c:v>1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838-4F6A-9204-1B45B90315EF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F$244:$F$427</c:f>
              <c:numCache>
                <c:formatCode>General</c:formatCode>
                <c:ptCount val="184"/>
                <c:pt idx="153">
                  <c:v>38</c:v>
                </c:pt>
                <c:pt idx="154">
                  <c:v>41</c:v>
                </c:pt>
                <c:pt idx="155">
                  <c:v>44</c:v>
                </c:pt>
                <c:pt idx="156">
                  <c:v>46</c:v>
                </c:pt>
                <c:pt idx="157">
                  <c:v>49</c:v>
                </c:pt>
                <c:pt idx="158">
                  <c:v>52</c:v>
                </c:pt>
                <c:pt idx="159">
                  <c:v>56</c:v>
                </c:pt>
                <c:pt idx="160">
                  <c:v>60</c:v>
                </c:pt>
                <c:pt idx="161">
                  <c:v>64</c:v>
                </c:pt>
                <c:pt idx="162">
                  <c:v>68</c:v>
                </c:pt>
                <c:pt idx="163">
                  <c:v>72</c:v>
                </c:pt>
                <c:pt idx="164">
                  <c:v>77</c:v>
                </c:pt>
                <c:pt idx="165">
                  <c:v>82</c:v>
                </c:pt>
                <c:pt idx="166">
                  <c:v>88</c:v>
                </c:pt>
                <c:pt idx="167">
                  <c:v>93</c:v>
                </c:pt>
                <c:pt idx="168">
                  <c:v>99</c:v>
                </c:pt>
                <c:pt idx="169">
                  <c:v>106</c:v>
                </c:pt>
                <c:pt idx="170">
                  <c:v>113</c:v>
                </c:pt>
                <c:pt idx="171">
                  <c:v>120</c:v>
                </c:pt>
                <c:pt idx="172">
                  <c:v>128</c:v>
                </c:pt>
                <c:pt idx="173">
                  <c:v>136</c:v>
                </c:pt>
                <c:pt idx="174">
                  <c:v>145</c:v>
                </c:pt>
                <c:pt idx="175">
                  <c:v>154</c:v>
                </c:pt>
                <c:pt idx="176">
                  <c:v>164</c:v>
                </c:pt>
                <c:pt idx="177">
                  <c:v>175</c:v>
                </c:pt>
                <c:pt idx="178">
                  <c:v>186</c:v>
                </c:pt>
                <c:pt idx="179">
                  <c:v>198</c:v>
                </c:pt>
                <c:pt idx="180">
                  <c:v>211</c:v>
                </c:pt>
                <c:pt idx="181">
                  <c:v>225</c:v>
                </c:pt>
                <c:pt idx="182">
                  <c:v>239</c:v>
                </c:pt>
                <c:pt idx="183">
                  <c:v>2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838-4F6A-9204-1B45B90315EF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4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G$244:$G$427</c:f>
              <c:numCache>
                <c:formatCode>General</c:formatCode>
                <c:ptCount val="184"/>
                <c:pt idx="153">
                  <c:v>38</c:v>
                </c:pt>
                <c:pt idx="154">
                  <c:v>41</c:v>
                </c:pt>
                <c:pt idx="155">
                  <c:v>44</c:v>
                </c:pt>
                <c:pt idx="156">
                  <c:v>46</c:v>
                </c:pt>
                <c:pt idx="157">
                  <c:v>49</c:v>
                </c:pt>
                <c:pt idx="158">
                  <c:v>52</c:v>
                </c:pt>
                <c:pt idx="159">
                  <c:v>56</c:v>
                </c:pt>
                <c:pt idx="160">
                  <c:v>60</c:v>
                </c:pt>
                <c:pt idx="161">
                  <c:v>64</c:v>
                </c:pt>
                <c:pt idx="162">
                  <c:v>68</c:v>
                </c:pt>
                <c:pt idx="163">
                  <c:v>72</c:v>
                </c:pt>
                <c:pt idx="164">
                  <c:v>82</c:v>
                </c:pt>
                <c:pt idx="165">
                  <c:v>91</c:v>
                </c:pt>
                <c:pt idx="166">
                  <c:v>98</c:v>
                </c:pt>
                <c:pt idx="167">
                  <c:v>106</c:v>
                </c:pt>
                <c:pt idx="168">
                  <c:v>115</c:v>
                </c:pt>
                <c:pt idx="169">
                  <c:v>126</c:v>
                </c:pt>
                <c:pt idx="170">
                  <c:v>138</c:v>
                </c:pt>
                <c:pt idx="171">
                  <c:v>152</c:v>
                </c:pt>
                <c:pt idx="172">
                  <c:v>165</c:v>
                </c:pt>
                <c:pt idx="173">
                  <c:v>179</c:v>
                </c:pt>
                <c:pt idx="174">
                  <c:v>195</c:v>
                </c:pt>
                <c:pt idx="175">
                  <c:v>213</c:v>
                </c:pt>
                <c:pt idx="176">
                  <c:v>233</c:v>
                </c:pt>
                <c:pt idx="177">
                  <c:v>254</c:v>
                </c:pt>
                <c:pt idx="178">
                  <c:v>277</c:v>
                </c:pt>
                <c:pt idx="179">
                  <c:v>301</c:v>
                </c:pt>
                <c:pt idx="180">
                  <c:v>329</c:v>
                </c:pt>
                <c:pt idx="181">
                  <c:v>359</c:v>
                </c:pt>
                <c:pt idx="182">
                  <c:v>392</c:v>
                </c:pt>
                <c:pt idx="183">
                  <c:v>4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838-4F6A-9204-1B45B90315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42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6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H$122:$H$274</c:f>
              <c:numCache>
                <c:formatCode>0</c:formatCode>
                <c:ptCount val="15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115-44FD-973A-F27A14EC0B1E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I$122:$I$274</c:f>
              <c:numCache>
                <c:formatCode>0</c:formatCode>
                <c:ptCount val="153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115-44FD-973A-F27A14EC0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B$122:$B$274</c:f>
              <c:numCache>
                <c:formatCode>0</c:formatCode>
                <c:ptCount val="153"/>
                <c:pt idx="0">
                  <c:v>41.887957470794781</c:v>
                </c:pt>
                <c:pt idx="1">
                  <c:v>43.094606451434963</c:v>
                </c:pt>
                <c:pt idx="2">
                  <c:v>39.647037935320171</c:v>
                </c:pt>
                <c:pt idx="3">
                  <c:v>35.854712567593893</c:v>
                </c:pt>
                <c:pt idx="4">
                  <c:v>32.407144051479094</c:v>
                </c:pt>
                <c:pt idx="5">
                  <c:v>31.372873496644651</c:v>
                </c:pt>
                <c:pt idx="6">
                  <c:v>28.959575535364294</c:v>
                </c:pt>
                <c:pt idx="7">
                  <c:v>23.44346590958062</c:v>
                </c:pt>
                <c:pt idx="8">
                  <c:v>20.513032670883042</c:v>
                </c:pt>
                <c:pt idx="9">
                  <c:v>18.616869987019903</c:v>
                </c:pt>
                <c:pt idx="10">
                  <c:v>15.514058322516586</c:v>
                </c:pt>
                <c:pt idx="11">
                  <c:v>14.996923045099367</c:v>
                </c:pt>
                <c:pt idx="12">
                  <c:v>14.996923045099367</c:v>
                </c:pt>
                <c:pt idx="13">
                  <c:v>13.44551721284771</c:v>
                </c:pt>
                <c:pt idx="14">
                  <c:v>11.204597677373091</c:v>
                </c:pt>
                <c:pt idx="15">
                  <c:v>8.9636781418984732</c:v>
                </c:pt>
                <c:pt idx="16">
                  <c:v>8.1017860128697734</c:v>
                </c:pt>
                <c:pt idx="17">
                  <c:v>8.4465428644812519</c:v>
                </c:pt>
                <c:pt idx="18">
                  <c:v>8.7912997160927322</c:v>
                </c:pt>
                <c:pt idx="19">
                  <c:v>8.9636781418984732</c:v>
                </c:pt>
                <c:pt idx="20">
                  <c:v>8.2741644386755144</c:v>
                </c:pt>
                <c:pt idx="21">
                  <c:v>8.1017860128697734</c:v>
                </c:pt>
                <c:pt idx="22">
                  <c:v>9.3084349935099517</c:v>
                </c:pt>
                <c:pt idx="23">
                  <c:v>8.7912997160927322</c:v>
                </c:pt>
                <c:pt idx="24">
                  <c:v>7.7570291612582931</c:v>
                </c:pt>
                <c:pt idx="25">
                  <c:v>6.8951370322295942</c:v>
                </c:pt>
                <c:pt idx="26">
                  <c:v>7.4122723096468137</c:v>
                </c:pt>
                <c:pt idx="27">
                  <c:v>6.8951370322295942</c:v>
                </c:pt>
                <c:pt idx="28">
                  <c:v>6.8951370322295942</c:v>
                </c:pt>
                <c:pt idx="29">
                  <c:v>5.1713527741721954</c:v>
                </c:pt>
                <c:pt idx="30">
                  <c:v>4.826595922560716</c:v>
                </c:pt>
                <c:pt idx="31">
                  <c:v>5.8608664773951551</c:v>
                </c:pt>
                <c:pt idx="32">
                  <c:v>5.3437311999779356</c:v>
                </c:pt>
                <c:pt idx="33">
                  <c:v>4.6542174967549759</c:v>
                </c:pt>
                <c:pt idx="34">
                  <c:v>3.7923253677262765</c:v>
                </c:pt>
                <c:pt idx="35">
                  <c:v>2.0685411096688786</c:v>
                </c:pt>
                <c:pt idx="36">
                  <c:v>3.6199469419205368</c:v>
                </c:pt>
                <c:pt idx="37">
                  <c:v>3.9647037935320171</c:v>
                </c:pt>
                <c:pt idx="38">
                  <c:v>4.1370822193377572</c:v>
                </c:pt>
                <c:pt idx="39">
                  <c:v>4.6542174967549759</c:v>
                </c:pt>
                <c:pt idx="40">
                  <c:v>4.826595922560716</c:v>
                </c:pt>
                <c:pt idx="41">
                  <c:v>5.3437311999779356</c:v>
                </c:pt>
                <c:pt idx="42">
                  <c:v>6.0332449032008943</c:v>
                </c:pt>
                <c:pt idx="43">
                  <c:v>5.688488051589415</c:v>
                </c:pt>
                <c:pt idx="44">
                  <c:v>6.0332449032008943</c:v>
                </c:pt>
                <c:pt idx="45">
                  <c:v>5.1713527741721954</c:v>
                </c:pt>
                <c:pt idx="46">
                  <c:v>5.3437311999779356</c:v>
                </c:pt>
                <c:pt idx="47">
                  <c:v>5.5161096257836757</c:v>
                </c:pt>
                <c:pt idx="48">
                  <c:v>5.688488051589415</c:v>
                </c:pt>
                <c:pt idx="49">
                  <c:v>6.0332449032008943</c:v>
                </c:pt>
                <c:pt idx="50">
                  <c:v>5.5161096257836757</c:v>
                </c:pt>
                <c:pt idx="51">
                  <c:v>6.5503801806181139</c:v>
                </c:pt>
                <c:pt idx="52">
                  <c:v>6.5503801806181139</c:v>
                </c:pt>
                <c:pt idx="53">
                  <c:v>6.3780017548123746</c:v>
                </c:pt>
                <c:pt idx="54">
                  <c:v>6.3780017548123746</c:v>
                </c:pt>
                <c:pt idx="55">
                  <c:v>6.3780017548123746</c:v>
                </c:pt>
                <c:pt idx="56">
                  <c:v>6.3780017548123746</c:v>
                </c:pt>
                <c:pt idx="57">
                  <c:v>5.688488051589415</c:v>
                </c:pt>
                <c:pt idx="58">
                  <c:v>4.9989743483664562</c:v>
                </c:pt>
                <c:pt idx="59">
                  <c:v>4.6542174967549759</c:v>
                </c:pt>
                <c:pt idx="60">
                  <c:v>4.1370822193377572</c:v>
                </c:pt>
                <c:pt idx="61">
                  <c:v>3.9647037935320171</c:v>
                </c:pt>
                <c:pt idx="62">
                  <c:v>3.9647037935320171</c:v>
                </c:pt>
                <c:pt idx="63">
                  <c:v>3.2751900903090569</c:v>
                </c:pt>
                <c:pt idx="64">
                  <c:v>3.4475685161147971</c:v>
                </c:pt>
                <c:pt idx="65">
                  <c:v>2.7580548128918378</c:v>
                </c:pt>
                <c:pt idx="66">
                  <c:v>3.2751900903090569</c:v>
                </c:pt>
                <c:pt idx="67">
                  <c:v>3.9647037935320171</c:v>
                </c:pt>
                <c:pt idx="68">
                  <c:v>4.1370822193377572</c:v>
                </c:pt>
                <c:pt idx="69">
                  <c:v>4.1370822193377572</c:v>
                </c:pt>
                <c:pt idx="70">
                  <c:v>4.1370822193377572</c:v>
                </c:pt>
                <c:pt idx="71">
                  <c:v>4.6542174967549759</c:v>
                </c:pt>
                <c:pt idx="72">
                  <c:v>4.6542174967549759</c:v>
                </c:pt>
                <c:pt idx="73">
                  <c:v>4.826595922560716</c:v>
                </c:pt>
                <c:pt idx="74">
                  <c:v>4.6542174967549759</c:v>
                </c:pt>
                <c:pt idx="75">
                  <c:v>4.4818390709492366</c:v>
                </c:pt>
                <c:pt idx="76">
                  <c:v>4.3094606451434965</c:v>
                </c:pt>
                <c:pt idx="77">
                  <c:v>4.9989743483664562</c:v>
                </c:pt>
                <c:pt idx="78">
                  <c:v>4.4818390709492366</c:v>
                </c:pt>
                <c:pt idx="79">
                  <c:v>5.3437311999779356</c:v>
                </c:pt>
                <c:pt idx="80">
                  <c:v>5.1713527741721954</c:v>
                </c:pt>
                <c:pt idx="81">
                  <c:v>5.688488051589415</c:v>
                </c:pt>
                <c:pt idx="82">
                  <c:v>5.5161096257836757</c:v>
                </c:pt>
                <c:pt idx="83">
                  <c:v>5.688488051589415</c:v>
                </c:pt>
                <c:pt idx="84">
                  <c:v>6.0332449032008943</c:v>
                </c:pt>
                <c:pt idx="85">
                  <c:v>7.2398938838410736</c:v>
                </c:pt>
                <c:pt idx="86">
                  <c:v>6.3780017548123746</c:v>
                </c:pt>
                <c:pt idx="87">
                  <c:v>6.8951370322295942</c:v>
                </c:pt>
                <c:pt idx="88">
                  <c:v>7.2398938838410736</c:v>
                </c:pt>
                <c:pt idx="89">
                  <c:v>7.4122723096468137</c:v>
                </c:pt>
                <c:pt idx="90">
                  <c:v>8.1017860128697734</c:v>
                </c:pt>
                <c:pt idx="91">
                  <c:v>8.1017860128697734</c:v>
                </c:pt>
                <c:pt idx="92">
                  <c:v>7.4122723096468137</c:v>
                </c:pt>
                <c:pt idx="93">
                  <c:v>9.1360565677042125</c:v>
                </c:pt>
                <c:pt idx="94">
                  <c:v>12.23886823220753</c:v>
                </c:pt>
                <c:pt idx="95">
                  <c:v>13.100760361236228</c:v>
                </c:pt>
                <c:pt idx="96">
                  <c:v>13.962652490264929</c:v>
                </c:pt>
                <c:pt idx="97">
                  <c:v>15.858815174128068</c:v>
                </c:pt>
                <c:pt idx="98">
                  <c:v>17.754977857991204</c:v>
                </c:pt>
                <c:pt idx="99">
                  <c:v>19.995897393465825</c:v>
                </c:pt>
                <c:pt idx="100">
                  <c:v>21.547303225717481</c:v>
                </c:pt>
                <c:pt idx="101">
                  <c:v>21.892060077328964</c:v>
                </c:pt>
                <c:pt idx="102">
                  <c:v>21.892060077328964</c:v>
                </c:pt>
                <c:pt idx="103">
                  <c:v>21.374924799911742</c:v>
                </c:pt>
                <c:pt idx="104">
                  <c:v>23.271087483774881</c:v>
                </c:pt>
                <c:pt idx="105">
                  <c:v>26.373899148278195</c:v>
                </c:pt>
                <c:pt idx="106">
                  <c:v>26.89103442569542</c:v>
                </c:pt>
                <c:pt idx="107">
                  <c:v>26.71865599988968</c:v>
                </c:pt>
                <c:pt idx="108">
                  <c:v>26.373899148278195</c:v>
                </c:pt>
                <c:pt idx="109">
                  <c:v>26.71865599988968</c:v>
                </c:pt>
                <c:pt idx="110">
                  <c:v>26.546277574083941</c:v>
                </c:pt>
                <c:pt idx="111">
                  <c:v>23.788222761192102</c:v>
                </c:pt>
                <c:pt idx="112">
                  <c:v>21.719681651523224</c:v>
                </c:pt>
                <c:pt idx="113">
                  <c:v>21.892060077328964</c:v>
                </c:pt>
                <c:pt idx="114">
                  <c:v>21.030167948300264</c:v>
                </c:pt>
                <c:pt idx="115">
                  <c:v>19.134005264437125</c:v>
                </c:pt>
                <c:pt idx="116">
                  <c:v>22.236816928940442</c:v>
                </c:pt>
                <c:pt idx="117">
                  <c:v>23.960601186997838</c:v>
                </c:pt>
                <c:pt idx="118">
                  <c:v>26.546277574083941</c:v>
                </c:pt>
                <c:pt idx="119">
                  <c:v>26.201520722472456</c:v>
                </c:pt>
                <c:pt idx="120">
                  <c:v>27.580548128918377</c:v>
                </c:pt>
                <c:pt idx="121">
                  <c:v>30.683359793421698</c:v>
                </c:pt>
                <c:pt idx="122">
                  <c:v>35.854712567593893</c:v>
                </c:pt>
                <c:pt idx="123">
                  <c:v>34.99282043856519</c:v>
                </c:pt>
                <c:pt idx="124">
                  <c:v>35.682334141788154</c:v>
                </c:pt>
                <c:pt idx="125">
                  <c:v>36.199469419205371</c:v>
                </c:pt>
                <c:pt idx="126">
                  <c:v>42.922228025629224</c:v>
                </c:pt>
                <c:pt idx="127">
                  <c:v>46.369796541744023</c:v>
                </c:pt>
                <c:pt idx="128">
                  <c:v>51.368770890110476</c:v>
                </c:pt>
                <c:pt idx="129">
                  <c:v>51.196392464304736</c:v>
                </c:pt>
                <c:pt idx="130">
                  <c:v>52.403041444944911</c:v>
                </c:pt>
                <c:pt idx="131">
                  <c:v>51.196392464304736</c:v>
                </c:pt>
                <c:pt idx="132">
                  <c:v>55.333474683642493</c:v>
                </c:pt>
                <c:pt idx="133">
                  <c:v>60.160070606203206</c:v>
                </c:pt>
                <c:pt idx="134">
                  <c:v>61.021962735231916</c:v>
                </c:pt>
                <c:pt idx="135">
                  <c:v>62.745746993289302</c:v>
                </c:pt>
                <c:pt idx="136">
                  <c:v>69.985640877130379</c:v>
                </c:pt>
                <c:pt idx="137">
                  <c:v>74.295101522273882</c:v>
                </c:pt>
                <c:pt idx="138">
                  <c:v>76.536021057748499</c:v>
                </c:pt>
                <c:pt idx="139">
                  <c:v>85.327320773841222</c:v>
                </c:pt>
                <c:pt idx="140">
                  <c:v>99.11759483830042</c:v>
                </c:pt>
                <c:pt idx="141">
                  <c:v>115.32116686403997</c:v>
                </c:pt>
                <c:pt idx="142">
                  <c:v>132.21425259300247</c:v>
                </c:pt>
                <c:pt idx="143">
                  <c:v>163.24236923803565</c:v>
                </c:pt>
                <c:pt idx="144">
                  <c:v>181.16972552183259</c:v>
                </c:pt>
                <c:pt idx="145">
                  <c:v>191.16767421856548</c:v>
                </c:pt>
                <c:pt idx="146">
                  <c:v>214.95589697975763</c:v>
                </c:pt>
                <c:pt idx="147">
                  <c:v>256.499097598940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115-44FD-973A-F27A14EC0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C$122:$C$274</c:f>
              <c:numCache>
                <c:formatCode>General</c:formatCode>
                <c:ptCount val="15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115-44FD-973A-F27A14EC0B1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1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D$122:$D$274</c:f>
              <c:numCache>
                <c:formatCode>General</c:formatCode>
                <c:ptCount val="153"/>
                <c:pt idx="122">
                  <c:v>31.200495070838912</c:v>
                </c:pt>
                <c:pt idx="123">
                  <c:v>32.407144051479094</c:v>
                </c:pt>
                <c:pt idx="124">
                  <c:v>33.613793032119275</c:v>
                </c:pt>
                <c:pt idx="125">
                  <c:v>34.82044201275945</c:v>
                </c:pt>
                <c:pt idx="126">
                  <c:v>36.027090993399632</c:v>
                </c:pt>
                <c:pt idx="127">
                  <c:v>37.406118399845546</c:v>
                </c:pt>
                <c:pt idx="128">
                  <c:v>38.957524232097207</c:v>
                </c:pt>
                <c:pt idx="129">
                  <c:v>40.336551638543128</c:v>
                </c:pt>
                <c:pt idx="130">
                  <c:v>41.887957470794781</c:v>
                </c:pt>
                <c:pt idx="131">
                  <c:v>43.439363303046449</c:v>
                </c:pt>
                <c:pt idx="132">
                  <c:v>45.163147561103841</c:v>
                </c:pt>
                <c:pt idx="133">
                  <c:v>46.886931819161241</c:v>
                </c:pt>
                <c:pt idx="134">
                  <c:v>48.61071607721864</c:v>
                </c:pt>
                <c:pt idx="135">
                  <c:v>50.334500335276033</c:v>
                </c:pt>
                <c:pt idx="136">
                  <c:v>52.230663019139172</c:v>
                </c:pt>
                <c:pt idx="137">
                  <c:v>54.126825703002318</c:v>
                </c:pt>
                <c:pt idx="138">
                  <c:v>56.195366812671196</c:v>
                </c:pt>
                <c:pt idx="139">
                  <c:v>58.091529496534328</c:v>
                </c:pt>
                <c:pt idx="140">
                  <c:v>60.160070606203206</c:v>
                </c:pt>
                <c:pt idx="141">
                  <c:v>62.228611715872084</c:v>
                </c:pt>
                <c:pt idx="142">
                  <c:v>64.469531251346709</c:v>
                </c:pt>
                <c:pt idx="143">
                  <c:v>66.882829212627072</c:v>
                </c:pt>
                <c:pt idx="144">
                  <c:v>69.296127173907422</c:v>
                </c:pt>
                <c:pt idx="145">
                  <c:v>71.709425135187786</c:v>
                </c:pt>
                <c:pt idx="146">
                  <c:v>74.295101522273882</c:v>
                </c:pt>
                <c:pt idx="147">
                  <c:v>77.053156335165724</c:v>
                </c:pt>
                <c:pt idx="148">
                  <c:v>79.811211148057552</c:v>
                </c:pt>
                <c:pt idx="149">
                  <c:v>82.741644386755127</c:v>
                </c:pt>
                <c:pt idx="150">
                  <c:v>85.672077625452701</c:v>
                </c:pt>
                <c:pt idx="151">
                  <c:v>88.774889289956022</c:v>
                </c:pt>
                <c:pt idx="152">
                  <c:v>91.8777009544593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115-44FD-973A-F27A14EC0B1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E$122:$E$274</c:f>
              <c:numCache>
                <c:formatCode>General</c:formatCode>
                <c:ptCount val="153"/>
                <c:pt idx="122">
                  <c:v>31.372873496644651</c:v>
                </c:pt>
                <c:pt idx="123">
                  <c:v>32.924279328896311</c:v>
                </c:pt>
                <c:pt idx="124">
                  <c:v>34.475685161147972</c:v>
                </c:pt>
                <c:pt idx="125">
                  <c:v>36.027090993399632</c:v>
                </c:pt>
                <c:pt idx="126">
                  <c:v>37.750875251457025</c:v>
                </c:pt>
                <c:pt idx="127">
                  <c:v>39.647037935320171</c:v>
                </c:pt>
                <c:pt idx="128">
                  <c:v>41.887957470794781</c:v>
                </c:pt>
                <c:pt idx="129">
                  <c:v>44.128877006269406</c:v>
                </c:pt>
                <c:pt idx="130">
                  <c:v>46.369796541744023</c:v>
                </c:pt>
                <c:pt idx="131">
                  <c:v>48.78309450302438</c:v>
                </c:pt>
                <c:pt idx="132">
                  <c:v>51.368770890110476</c:v>
                </c:pt>
                <c:pt idx="133">
                  <c:v>54.126825703002318</c:v>
                </c:pt>
                <c:pt idx="134">
                  <c:v>57.057258941699892</c:v>
                </c:pt>
                <c:pt idx="135">
                  <c:v>59.987692180397467</c:v>
                </c:pt>
                <c:pt idx="136">
                  <c:v>62.918125419095041</c:v>
                </c:pt>
                <c:pt idx="137">
                  <c:v>66.020937083598369</c:v>
                </c:pt>
                <c:pt idx="138">
                  <c:v>69.468505599713168</c:v>
                </c:pt>
                <c:pt idx="139">
                  <c:v>73.0884525416337</c:v>
                </c:pt>
                <c:pt idx="140">
                  <c:v>76.880777909359978</c:v>
                </c:pt>
                <c:pt idx="141">
                  <c:v>80.673103277086256</c:v>
                </c:pt>
                <c:pt idx="142">
                  <c:v>84.810185496424012</c:v>
                </c:pt>
                <c:pt idx="143">
                  <c:v>89.292024567373247</c:v>
                </c:pt>
                <c:pt idx="144">
                  <c:v>93.946242064128214</c:v>
                </c:pt>
                <c:pt idx="145">
                  <c:v>98.600459560883195</c:v>
                </c:pt>
                <c:pt idx="146">
                  <c:v>103.59943390924967</c:v>
                </c:pt>
                <c:pt idx="147">
                  <c:v>108.77078668342186</c:v>
                </c:pt>
                <c:pt idx="148">
                  <c:v>114.28689630920553</c:v>
                </c:pt>
                <c:pt idx="149">
                  <c:v>120.14776278660068</c:v>
                </c:pt>
                <c:pt idx="150">
                  <c:v>126.18100768980156</c:v>
                </c:pt>
                <c:pt idx="151">
                  <c:v>132.55900944461393</c:v>
                </c:pt>
                <c:pt idx="152">
                  <c:v>139.28176805103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115-44FD-973A-F27A14EC0B1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F$122:$F$274</c:f>
              <c:numCache>
                <c:formatCode>General</c:formatCode>
                <c:ptCount val="153"/>
                <c:pt idx="122">
                  <c:v>31.54525192245039</c:v>
                </c:pt>
                <c:pt idx="123">
                  <c:v>33.269036180507797</c:v>
                </c:pt>
                <c:pt idx="124">
                  <c:v>35.165198864370929</c:v>
                </c:pt>
                <c:pt idx="125">
                  <c:v>37.233739974039807</c:v>
                </c:pt>
                <c:pt idx="126">
                  <c:v>39.474659509514431</c:v>
                </c:pt>
                <c:pt idx="127">
                  <c:v>42.060335896600527</c:v>
                </c:pt>
                <c:pt idx="128">
                  <c:v>45.163147561103841</c:v>
                </c:pt>
                <c:pt idx="129">
                  <c:v>48.093580799801416</c:v>
                </c:pt>
                <c:pt idx="130">
                  <c:v>51.196392464304736</c:v>
                </c:pt>
                <c:pt idx="131">
                  <c:v>54.471582554613796</c:v>
                </c:pt>
                <c:pt idx="132">
                  <c:v>58.091529496534328</c:v>
                </c:pt>
                <c:pt idx="133">
                  <c:v>62.056233290066345</c:v>
                </c:pt>
                <c:pt idx="134">
                  <c:v>66.193315509404115</c:v>
                </c:pt>
                <c:pt idx="135">
                  <c:v>70.502776154547604</c:v>
                </c:pt>
                <c:pt idx="136">
                  <c:v>75.156993651302571</c:v>
                </c:pt>
                <c:pt idx="137">
                  <c:v>80.155967999669031</c:v>
                </c:pt>
                <c:pt idx="138">
                  <c:v>85.499699199646969</c:v>
                </c:pt>
                <c:pt idx="139">
                  <c:v>91.015808825430639</c:v>
                </c:pt>
                <c:pt idx="140">
                  <c:v>96.876675302825788</c:v>
                </c:pt>
                <c:pt idx="141">
                  <c:v>103.25467705763816</c:v>
                </c:pt>
                <c:pt idx="142">
                  <c:v>109.97743566406203</c:v>
                </c:pt>
                <c:pt idx="143">
                  <c:v>117.04495112209736</c:v>
                </c:pt>
                <c:pt idx="144">
                  <c:v>124.62960185754993</c:v>
                </c:pt>
                <c:pt idx="145">
                  <c:v>132.7313878704197</c:v>
                </c:pt>
                <c:pt idx="146">
                  <c:v>141.35030916070667</c:v>
                </c:pt>
                <c:pt idx="147">
                  <c:v>150.4863657284109</c:v>
                </c:pt>
                <c:pt idx="148">
                  <c:v>160.13955757353233</c:v>
                </c:pt>
                <c:pt idx="149">
                  <c:v>170.48226312187671</c:v>
                </c:pt>
                <c:pt idx="150">
                  <c:v>181.51448237344408</c:v>
                </c:pt>
                <c:pt idx="151">
                  <c:v>193.23621532823438</c:v>
                </c:pt>
                <c:pt idx="152">
                  <c:v>205.647461986247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2115-44FD-973A-F27A14EC0B1E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4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G$122:$G$274</c:f>
              <c:numCache>
                <c:formatCode>General</c:formatCode>
                <c:ptCount val="153"/>
                <c:pt idx="122">
                  <c:v>31.54525192245039</c:v>
                </c:pt>
                <c:pt idx="123">
                  <c:v>33.269036180507797</c:v>
                </c:pt>
                <c:pt idx="124">
                  <c:v>35.165198864370929</c:v>
                </c:pt>
                <c:pt idx="125">
                  <c:v>37.233739974039807</c:v>
                </c:pt>
                <c:pt idx="126">
                  <c:v>39.474659509514431</c:v>
                </c:pt>
                <c:pt idx="127">
                  <c:v>42.060335896600527</c:v>
                </c:pt>
                <c:pt idx="128">
                  <c:v>45.163147561103841</c:v>
                </c:pt>
                <c:pt idx="129">
                  <c:v>48.093580799801416</c:v>
                </c:pt>
                <c:pt idx="130">
                  <c:v>51.196392464304736</c:v>
                </c:pt>
                <c:pt idx="131">
                  <c:v>54.471582554613796</c:v>
                </c:pt>
                <c:pt idx="132">
                  <c:v>58.091529496534328</c:v>
                </c:pt>
                <c:pt idx="133">
                  <c:v>62.745746993289302</c:v>
                </c:pt>
                <c:pt idx="134">
                  <c:v>68.08947819326724</c:v>
                </c:pt>
                <c:pt idx="135">
                  <c:v>73.950344670662403</c:v>
                </c:pt>
                <c:pt idx="136">
                  <c:v>80.328346425474777</c:v>
                </c:pt>
                <c:pt idx="137">
                  <c:v>87.395861883510108</c:v>
                </c:pt>
                <c:pt idx="138">
                  <c:v>95.497647896379874</c:v>
                </c:pt>
                <c:pt idx="139">
                  <c:v>104.6337044640841</c:v>
                </c:pt>
                <c:pt idx="140">
                  <c:v>114.28689630920553</c:v>
                </c:pt>
                <c:pt idx="141">
                  <c:v>124.45722343174417</c:v>
                </c:pt>
                <c:pt idx="142">
                  <c:v>135.48944268331152</c:v>
                </c:pt>
                <c:pt idx="143">
                  <c:v>147.72831091551905</c:v>
                </c:pt>
                <c:pt idx="144">
                  <c:v>161.34620655417251</c:v>
                </c:pt>
                <c:pt idx="145">
                  <c:v>176.17075117346613</c:v>
                </c:pt>
                <c:pt idx="146">
                  <c:v>192.20194477339996</c:v>
                </c:pt>
                <c:pt idx="147">
                  <c:v>209.43978735397391</c:v>
                </c:pt>
                <c:pt idx="148">
                  <c:v>228.4014141926053</c:v>
                </c:pt>
                <c:pt idx="149">
                  <c:v>249.25920371509986</c:v>
                </c:pt>
                <c:pt idx="150">
                  <c:v>272.0131559214575</c:v>
                </c:pt>
                <c:pt idx="151">
                  <c:v>296.66327081167827</c:v>
                </c:pt>
                <c:pt idx="152">
                  <c:v>323.381926811567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2115-44FD-973A-F27A14EC0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32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4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B$244:$B$427</c:f>
              <c:numCache>
                <c:formatCode>0</c:formatCode>
                <c:ptCount val="184"/>
                <c:pt idx="0">
                  <c:v>160</c:v>
                </c:pt>
                <c:pt idx="1">
                  <c:v>68</c:v>
                </c:pt>
                <c:pt idx="2">
                  <c:v>328</c:v>
                </c:pt>
                <c:pt idx="3">
                  <c:v>351</c:v>
                </c:pt>
                <c:pt idx="4">
                  <c:v>277</c:v>
                </c:pt>
                <c:pt idx="5">
                  <c:v>212</c:v>
                </c:pt>
                <c:pt idx="6">
                  <c:v>236</c:v>
                </c:pt>
                <c:pt idx="7">
                  <c:v>131</c:v>
                </c:pt>
                <c:pt idx="8">
                  <c:v>55</c:v>
                </c:pt>
                <c:pt idx="9">
                  <c:v>300</c:v>
                </c:pt>
                <c:pt idx="10">
                  <c:v>254</c:v>
                </c:pt>
                <c:pt idx="11">
                  <c:v>165</c:v>
                </c:pt>
                <c:pt idx="12">
                  <c:v>242</c:v>
                </c:pt>
                <c:pt idx="13">
                  <c:v>175</c:v>
                </c:pt>
                <c:pt idx="14">
                  <c:v>96</c:v>
                </c:pt>
                <c:pt idx="15">
                  <c:v>44</c:v>
                </c:pt>
                <c:pt idx="16">
                  <c:v>162</c:v>
                </c:pt>
                <c:pt idx="17">
                  <c:v>211</c:v>
                </c:pt>
                <c:pt idx="18">
                  <c:v>109</c:v>
                </c:pt>
                <c:pt idx="19">
                  <c:v>115</c:v>
                </c:pt>
                <c:pt idx="20">
                  <c:v>81</c:v>
                </c:pt>
                <c:pt idx="21">
                  <c:v>73</c:v>
                </c:pt>
                <c:pt idx="22">
                  <c:v>27</c:v>
                </c:pt>
                <c:pt idx="23">
                  <c:v>124</c:v>
                </c:pt>
                <c:pt idx="24">
                  <c:v>95</c:v>
                </c:pt>
                <c:pt idx="25">
                  <c:v>81</c:v>
                </c:pt>
                <c:pt idx="26">
                  <c:v>82</c:v>
                </c:pt>
                <c:pt idx="27">
                  <c:v>52</c:v>
                </c:pt>
                <c:pt idx="28">
                  <c:v>23</c:v>
                </c:pt>
                <c:pt idx="29">
                  <c:v>21</c:v>
                </c:pt>
                <c:pt idx="30">
                  <c:v>68</c:v>
                </c:pt>
                <c:pt idx="31">
                  <c:v>78</c:v>
                </c:pt>
                <c:pt idx="32">
                  <c:v>49</c:v>
                </c:pt>
                <c:pt idx="33">
                  <c:v>54</c:v>
                </c:pt>
                <c:pt idx="34">
                  <c:v>43</c:v>
                </c:pt>
                <c:pt idx="35">
                  <c:v>18</c:v>
                </c:pt>
                <c:pt idx="36">
                  <c:v>10</c:v>
                </c:pt>
                <c:pt idx="37">
                  <c:v>46</c:v>
                </c:pt>
                <c:pt idx="38">
                  <c:v>35</c:v>
                </c:pt>
                <c:pt idx="39">
                  <c:v>36</c:v>
                </c:pt>
                <c:pt idx="40">
                  <c:v>19</c:v>
                </c:pt>
                <c:pt idx="41">
                  <c:v>17</c:v>
                </c:pt>
                <c:pt idx="42">
                  <c:v>17</c:v>
                </c:pt>
                <c:pt idx="43">
                  <c:v>7</c:v>
                </c:pt>
                <c:pt idx="44">
                  <c:v>16</c:v>
                </c:pt>
                <c:pt idx="45">
                  <c:v>24</c:v>
                </c:pt>
                <c:pt idx="46">
                  <c:v>14</c:v>
                </c:pt>
                <c:pt idx="47">
                  <c:v>25</c:v>
                </c:pt>
                <c:pt idx="48">
                  <c:v>15</c:v>
                </c:pt>
                <c:pt idx="49">
                  <c:v>5</c:v>
                </c:pt>
                <c:pt idx="50">
                  <c:v>6</c:v>
                </c:pt>
                <c:pt idx="51">
                  <c:v>17</c:v>
                </c:pt>
                <c:pt idx="52">
                  <c:v>15</c:v>
                </c:pt>
                <c:pt idx="53">
                  <c:v>15</c:v>
                </c:pt>
                <c:pt idx="54">
                  <c:v>7</c:v>
                </c:pt>
                <c:pt idx="55">
                  <c:v>15</c:v>
                </c:pt>
                <c:pt idx="56">
                  <c:v>6</c:v>
                </c:pt>
                <c:pt idx="57">
                  <c:v>5</c:v>
                </c:pt>
                <c:pt idx="58">
                  <c:v>16</c:v>
                </c:pt>
                <c:pt idx="59">
                  <c:v>18</c:v>
                </c:pt>
                <c:pt idx="60">
                  <c:v>12</c:v>
                </c:pt>
                <c:pt idx="61">
                  <c:v>15</c:v>
                </c:pt>
                <c:pt idx="62">
                  <c:v>15</c:v>
                </c:pt>
                <c:pt idx="63">
                  <c:v>12</c:v>
                </c:pt>
                <c:pt idx="64">
                  <c:v>0</c:v>
                </c:pt>
                <c:pt idx="65">
                  <c:v>8</c:v>
                </c:pt>
                <c:pt idx="66">
                  <c:v>4</c:v>
                </c:pt>
                <c:pt idx="67">
                  <c:v>21</c:v>
                </c:pt>
                <c:pt idx="68">
                  <c:v>10</c:v>
                </c:pt>
                <c:pt idx="69">
                  <c:v>23</c:v>
                </c:pt>
                <c:pt idx="70">
                  <c:v>10</c:v>
                </c:pt>
                <c:pt idx="71">
                  <c:v>9</c:v>
                </c:pt>
                <c:pt idx="72">
                  <c:v>17</c:v>
                </c:pt>
                <c:pt idx="73">
                  <c:v>27</c:v>
                </c:pt>
                <c:pt idx="74">
                  <c:v>7</c:v>
                </c:pt>
                <c:pt idx="75">
                  <c:v>4</c:v>
                </c:pt>
                <c:pt idx="76">
                  <c:v>18</c:v>
                </c:pt>
                <c:pt idx="77">
                  <c:v>10</c:v>
                </c:pt>
                <c:pt idx="78">
                  <c:v>8</c:v>
                </c:pt>
                <c:pt idx="79">
                  <c:v>16</c:v>
                </c:pt>
                <c:pt idx="80">
                  <c:v>18</c:v>
                </c:pt>
                <c:pt idx="81">
                  <c:v>17</c:v>
                </c:pt>
                <c:pt idx="82">
                  <c:v>11</c:v>
                </c:pt>
                <c:pt idx="83">
                  <c:v>10</c:v>
                </c:pt>
                <c:pt idx="84">
                  <c:v>4</c:v>
                </c:pt>
                <c:pt idx="85">
                  <c:v>4</c:v>
                </c:pt>
                <c:pt idx="86">
                  <c:v>8</c:v>
                </c:pt>
                <c:pt idx="87">
                  <c:v>11</c:v>
                </c:pt>
                <c:pt idx="88">
                  <c:v>8</c:v>
                </c:pt>
                <c:pt idx="89">
                  <c:v>8</c:v>
                </c:pt>
                <c:pt idx="90">
                  <c:v>9</c:v>
                </c:pt>
                <c:pt idx="91">
                  <c:v>8</c:v>
                </c:pt>
                <c:pt idx="92">
                  <c:v>0</c:v>
                </c:pt>
                <c:pt idx="93">
                  <c:v>5</c:v>
                </c:pt>
                <c:pt idx="94">
                  <c:v>14</c:v>
                </c:pt>
                <c:pt idx="95">
                  <c:v>14</c:v>
                </c:pt>
                <c:pt idx="96">
                  <c:v>9</c:v>
                </c:pt>
                <c:pt idx="97">
                  <c:v>8</c:v>
                </c:pt>
                <c:pt idx="98">
                  <c:v>9</c:v>
                </c:pt>
                <c:pt idx="99">
                  <c:v>3</c:v>
                </c:pt>
                <c:pt idx="100">
                  <c:v>13</c:v>
                </c:pt>
                <c:pt idx="101">
                  <c:v>21</c:v>
                </c:pt>
                <c:pt idx="102">
                  <c:v>17</c:v>
                </c:pt>
                <c:pt idx="103">
                  <c:v>12</c:v>
                </c:pt>
                <c:pt idx="104">
                  <c:v>6</c:v>
                </c:pt>
                <c:pt idx="105">
                  <c:v>12</c:v>
                </c:pt>
                <c:pt idx="106">
                  <c:v>6</c:v>
                </c:pt>
                <c:pt idx="107">
                  <c:v>13</c:v>
                </c:pt>
                <c:pt idx="108">
                  <c:v>23</c:v>
                </c:pt>
                <c:pt idx="109">
                  <c:v>15</c:v>
                </c:pt>
                <c:pt idx="110">
                  <c:v>18</c:v>
                </c:pt>
                <c:pt idx="111">
                  <c:v>6</c:v>
                </c:pt>
                <c:pt idx="112">
                  <c:v>6</c:v>
                </c:pt>
                <c:pt idx="113">
                  <c:v>5</c:v>
                </c:pt>
                <c:pt idx="114">
                  <c:v>12</c:v>
                </c:pt>
                <c:pt idx="115">
                  <c:v>12</c:v>
                </c:pt>
                <c:pt idx="116">
                  <c:v>23</c:v>
                </c:pt>
                <c:pt idx="117">
                  <c:v>11</c:v>
                </c:pt>
                <c:pt idx="118">
                  <c:v>13</c:v>
                </c:pt>
                <c:pt idx="119">
                  <c:v>8</c:v>
                </c:pt>
                <c:pt idx="120">
                  <c:v>5</c:v>
                </c:pt>
                <c:pt idx="121">
                  <c:v>21</c:v>
                </c:pt>
                <c:pt idx="122">
                  <c:v>28</c:v>
                </c:pt>
                <c:pt idx="123">
                  <c:v>14</c:v>
                </c:pt>
                <c:pt idx="124">
                  <c:v>22</c:v>
                </c:pt>
                <c:pt idx="125">
                  <c:v>43</c:v>
                </c:pt>
                <c:pt idx="126">
                  <c:v>14</c:v>
                </c:pt>
                <c:pt idx="127">
                  <c:v>8</c:v>
                </c:pt>
                <c:pt idx="128">
                  <c:v>37</c:v>
                </c:pt>
                <c:pt idx="129">
                  <c:v>60</c:v>
                </c:pt>
                <c:pt idx="130">
                  <c:v>52</c:v>
                </c:pt>
                <c:pt idx="131">
                  <c:v>55</c:v>
                </c:pt>
                <c:pt idx="132">
                  <c:v>55</c:v>
                </c:pt>
                <c:pt idx="133">
                  <c:v>40</c:v>
                </c:pt>
                <c:pt idx="134">
                  <c:v>17</c:v>
                </c:pt>
                <c:pt idx="135">
                  <c:v>78</c:v>
                </c:pt>
                <c:pt idx="136">
                  <c:v>83</c:v>
                </c:pt>
                <c:pt idx="137">
                  <c:v>85</c:v>
                </c:pt>
                <c:pt idx="138">
                  <c:v>66</c:v>
                </c:pt>
                <c:pt idx="139">
                  <c:v>88</c:v>
                </c:pt>
                <c:pt idx="140">
                  <c:v>35</c:v>
                </c:pt>
                <c:pt idx="141">
                  <c:v>37</c:v>
                </c:pt>
                <c:pt idx="142">
                  <c:v>96</c:v>
                </c:pt>
                <c:pt idx="143">
                  <c:v>107</c:v>
                </c:pt>
                <c:pt idx="144">
                  <c:v>95</c:v>
                </c:pt>
                <c:pt idx="145">
                  <c:v>98</c:v>
                </c:pt>
                <c:pt idx="146">
                  <c:v>97</c:v>
                </c:pt>
                <c:pt idx="147">
                  <c:v>52</c:v>
                </c:pt>
                <c:pt idx="148">
                  <c:v>30</c:v>
                </c:pt>
                <c:pt idx="149">
                  <c:v>124</c:v>
                </c:pt>
                <c:pt idx="150">
                  <c:v>66</c:v>
                </c:pt>
                <c:pt idx="151">
                  <c:v>95</c:v>
                </c:pt>
                <c:pt idx="152">
                  <c:v>155</c:v>
                </c:pt>
                <c:pt idx="153">
                  <c:v>128</c:v>
                </c:pt>
                <c:pt idx="154">
                  <c:v>86</c:v>
                </c:pt>
                <c:pt idx="155">
                  <c:v>63</c:v>
                </c:pt>
                <c:pt idx="156">
                  <c:v>123</c:v>
                </c:pt>
                <c:pt idx="157">
                  <c:v>224</c:v>
                </c:pt>
                <c:pt idx="158">
                  <c:v>202</c:v>
                </c:pt>
                <c:pt idx="159">
                  <c:v>172</c:v>
                </c:pt>
                <c:pt idx="160">
                  <c:v>209</c:v>
                </c:pt>
                <c:pt idx="161">
                  <c:v>138</c:v>
                </c:pt>
                <c:pt idx="162">
                  <c:v>73</c:v>
                </c:pt>
                <c:pt idx="163">
                  <c:v>240</c:v>
                </c:pt>
                <c:pt idx="164">
                  <c:v>287</c:v>
                </c:pt>
                <c:pt idx="165">
                  <c:v>273</c:v>
                </c:pt>
                <c:pt idx="166">
                  <c:v>251</c:v>
                </c:pt>
                <c:pt idx="167">
                  <c:v>361</c:v>
                </c:pt>
                <c:pt idx="168">
                  <c:v>195</c:v>
                </c:pt>
                <c:pt idx="169">
                  <c:v>181</c:v>
                </c:pt>
                <c:pt idx="170">
                  <c:v>501</c:v>
                </c:pt>
                <c:pt idx="171">
                  <c:v>581</c:v>
                </c:pt>
                <c:pt idx="172">
                  <c:v>594</c:v>
                </c:pt>
                <c:pt idx="173">
                  <c:v>550</c:v>
                </c:pt>
                <c:pt idx="174">
                  <c:v>670</c:v>
                </c:pt>
                <c:pt idx="175">
                  <c:v>460</c:v>
                </c:pt>
                <c:pt idx="176">
                  <c:v>334</c:v>
                </c:pt>
                <c:pt idx="177">
                  <c:v>710</c:v>
                </c:pt>
                <c:pt idx="178">
                  <c:v>9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2C-425E-A01F-BB5EB831CF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C$244:$C$427</c:f>
              <c:numCache>
                <c:formatCode>General</c:formatCode>
                <c:ptCount val="18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12C-425E-A01F-BB5EB831CF7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D$244:$D$427</c:f>
              <c:numCache>
                <c:formatCode>General</c:formatCode>
                <c:ptCount val="184"/>
                <c:pt idx="73">
                  <c:v>0</c:v>
                </c:pt>
                <c:pt idx="153">
                  <c:v>124</c:v>
                </c:pt>
                <c:pt idx="154">
                  <c:v>129</c:v>
                </c:pt>
                <c:pt idx="155">
                  <c:v>134</c:v>
                </c:pt>
                <c:pt idx="156">
                  <c:v>139</c:v>
                </c:pt>
                <c:pt idx="157">
                  <c:v>144</c:v>
                </c:pt>
                <c:pt idx="158">
                  <c:v>150</c:v>
                </c:pt>
                <c:pt idx="159">
                  <c:v>155</c:v>
                </c:pt>
                <c:pt idx="160">
                  <c:v>162</c:v>
                </c:pt>
                <c:pt idx="161">
                  <c:v>168</c:v>
                </c:pt>
                <c:pt idx="162">
                  <c:v>174</c:v>
                </c:pt>
                <c:pt idx="163">
                  <c:v>180</c:v>
                </c:pt>
                <c:pt idx="164">
                  <c:v>187</c:v>
                </c:pt>
                <c:pt idx="165">
                  <c:v>194</c:v>
                </c:pt>
                <c:pt idx="166">
                  <c:v>201</c:v>
                </c:pt>
                <c:pt idx="167">
                  <c:v>208</c:v>
                </c:pt>
                <c:pt idx="168">
                  <c:v>216</c:v>
                </c:pt>
                <c:pt idx="169">
                  <c:v>224</c:v>
                </c:pt>
                <c:pt idx="170">
                  <c:v>232</c:v>
                </c:pt>
                <c:pt idx="171">
                  <c:v>240</c:v>
                </c:pt>
                <c:pt idx="172">
                  <c:v>249</c:v>
                </c:pt>
                <c:pt idx="173">
                  <c:v>258</c:v>
                </c:pt>
                <c:pt idx="174">
                  <c:v>267</c:v>
                </c:pt>
                <c:pt idx="175">
                  <c:v>277</c:v>
                </c:pt>
                <c:pt idx="176">
                  <c:v>287</c:v>
                </c:pt>
                <c:pt idx="177">
                  <c:v>297</c:v>
                </c:pt>
                <c:pt idx="178">
                  <c:v>308</c:v>
                </c:pt>
                <c:pt idx="179">
                  <c:v>319</c:v>
                </c:pt>
                <c:pt idx="180">
                  <c:v>330</c:v>
                </c:pt>
                <c:pt idx="181">
                  <c:v>342</c:v>
                </c:pt>
                <c:pt idx="182">
                  <c:v>354</c:v>
                </c:pt>
                <c:pt idx="183">
                  <c:v>3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12C-425E-A01F-BB5EB831CF7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E$244:$E$427</c:f>
              <c:numCache>
                <c:formatCode>General</c:formatCode>
                <c:ptCount val="184"/>
                <c:pt idx="153">
                  <c:v>129</c:v>
                </c:pt>
                <c:pt idx="154">
                  <c:v>137</c:v>
                </c:pt>
                <c:pt idx="155">
                  <c:v>144</c:v>
                </c:pt>
                <c:pt idx="156">
                  <c:v>150</c:v>
                </c:pt>
                <c:pt idx="157">
                  <c:v>157</c:v>
                </c:pt>
                <c:pt idx="158">
                  <c:v>166</c:v>
                </c:pt>
                <c:pt idx="159">
                  <c:v>175</c:v>
                </c:pt>
                <c:pt idx="160">
                  <c:v>185</c:v>
                </c:pt>
                <c:pt idx="161">
                  <c:v>194</c:v>
                </c:pt>
                <c:pt idx="162">
                  <c:v>204</c:v>
                </c:pt>
                <c:pt idx="163">
                  <c:v>214</c:v>
                </c:pt>
                <c:pt idx="164">
                  <c:v>225</c:v>
                </c:pt>
                <c:pt idx="165">
                  <c:v>237</c:v>
                </c:pt>
                <c:pt idx="166">
                  <c:v>249</c:v>
                </c:pt>
                <c:pt idx="167">
                  <c:v>262</c:v>
                </c:pt>
                <c:pt idx="168">
                  <c:v>275</c:v>
                </c:pt>
                <c:pt idx="169">
                  <c:v>289</c:v>
                </c:pt>
                <c:pt idx="170">
                  <c:v>304</c:v>
                </c:pt>
                <c:pt idx="171">
                  <c:v>320</c:v>
                </c:pt>
                <c:pt idx="172">
                  <c:v>336</c:v>
                </c:pt>
                <c:pt idx="173">
                  <c:v>353</c:v>
                </c:pt>
                <c:pt idx="174">
                  <c:v>371</c:v>
                </c:pt>
                <c:pt idx="175">
                  <c:v>390</c:v>
                </c:pt>
                <c:pt idx="176">
                  <c:v>409</c:v>
                </c:pt>
                <c:pt idx="177">
                  <c:v>430</c:v>
                </c:pt>
                <c:pt idx="178">
                  <c:v>452</c:v>
                </c:pt>
                <c:pt idx="179">
                  <c:v>475</c:v>
                </c:pt>
                <c:pt idx="180">
                  <c:v>499</c:v>
                </c:pt>
                <c:pt idx="181">
                  <c:v>523</c:v>
                </c:pt>
                <c:pt idx="182">
                  <c:v>550</c:v>
                </c:pt>
                <c:pt idx="183">
                  <c:v>5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12C-425E-A01F-BB5EB831CF7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F$244:$F$427</c:f>
              <c:numCache>
                <c:formatCode>General</c:formatCode>
                <c:ptCount val="184"/>
                <c:pt idx="153">
                  <c:v>134</c:v>
                </c:pt>
                <c:pt idx="154">
                  <c:v>144</c:v>
                </c:pt>
                <c:pt idx="155">
                  <c:v>153</c:v>
                </c:pt>
                <c:pt idx="156">
                  <c:v>160</c:v>
                </c:pt>
                <c:pt idx="157">
                  <c:v>170</c:v>
                </c:pt>
                <c:pt idx="158">
                  <c:v>182</c:v>
                </c:pt>
                <c:pt idx="159">
                  <c:v>195</c:v>
                </c:pt>
                <c:pt idx="160">
                  <c:v>210</c:v>
                </c:pt>
                <c:pt idx="161">
                  <c:v>223</c:v>
                </c:pt>
                <c:pt idx="162">
                  <c:v>236</c:v>
                </c:pt>
                <c:pt idx="163">
                  <c:v>251</c:v>
                </c:pt>
                <c:pt idx="164">
                  <c:v>268</c:v>
                </c:pt>
                <c:pt idx="165">
                  <c:v>287</c:v>
                </c:pt>
                <c:pt idx="166">
                  <c:v>306</c:v>
                </c:pt>
                <c:pt idx="167">
                  <c:v>325</c:v>
                </c:pt>
                <c:pt idx="168">
                  <c:v>345</c:v>
                </c:pt>
                <c:pt idx="169">
                  <c:v>368</c:v>
                </c:pt>
                <c:pt idx="170">
                  <c:v>392</c:v>
                </c:pt>
                <c:pt idx="171">
                  <c:v>418</c:v>
                </c:pt>
                <c:pt idx="172">
                  <c:v>445</c:v>
                </c:pt>
                <c:pt idx="173">
                  <c:v>474</c:v>
                </c:pt>
                <c:pt idx="174">
                  <c:v>504</c:v>
                </c:pt>
                <c:pt idx="175">
                  <c:v>537</c:v>
                </c:pt>
                <c:pt idx="176">
                  <c:v>572</c:v>
                </c:pt>
                <c:pt idx="177">
                  <c:v>609</c:v>
                </c:pt>
                <c:pt idx="178">
                  <c:v>648</c:v>
                </c:pt>
                <c:pt idx="179">
                  <c:v>689</c:v>
                </c:pt>
                <c:pt idx="180">
                  <c:v>734</c:v>
                </c:pt>
                <c:pt idx="181">
                  <c:v>781</c:v>
                </c:pt>
                <c:pt idx="182">
                  <c:v>831</c:v>
                </c:pt>
                <c:pt idx="183">
                  <c:v>8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12C-425E-A01F-BB5EB831CF7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4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G$244:$G$427</c:f>
              <c:numCache>
                <c:formatCode>General</c:formatCode>
                <c:ptCount val="184"/>
                <c:pt idx="153">
                  <c:v>134</c:v>
                </c:pt>
                <c:pt idx="154">
                  <c:v>144</c:v>
                </c:pt>
                <c:pt idx="155">
                  <c:v>153</c:v>
                </c:pt>
                <c:pt idx="156">
                  <c:v>160</c:v>
                </c:pt>
                <c:pt idx="157">
                  <c:v>170</c:v>
                </c:pt>
                <c:pt idx="158">
                  <c:v>182</c:v>
                </c:pt>
                <c:pt idx="159">
                  <c:v>195</c:v>
                </c:pt>
                <c:pt idx="160">
                  <c:v>210</c:v>
                </c:pt>
                <c:pt idx="161">
                  <c:v>223</c:v>
                </c:pt>
                <c:pt idx="162">
                  <c:v>236</c:v>
                </c:pt>
                <c:pt idx="163">
                  <c:v>251</c:v>
                </c:pt>
                <c:pt idx="164">
                  <c:v>286</c:v>
                </c:pt>
                <c:pt idx="165">
                  <c:v>316</c:v>
                </c:pt>
                <c:pt idx="166">
                  <c:v>342</c:v>
                </c:pt>
                <c:pt idx="167">
                  <c:v>367</c:v>
                </c:pt>
                <c:pt idx="168">
                  <c:v>399</c:v>
                </c:pt>
                <c:pt idx="169">
                  <c:v>437</c:v>
                </c:pt>
                <c:pt idx="170">
                  <c:v>480</c:v>
                </c:pt>
                <c:pt idx="171">
                  <c:v>527</c:v>
                </c:pt>
                <c:pt idx="172">
                  <c:v>573</c:v>
                </c:pt>
                <c:pt idx="173">
                  <c:v>622</c:v>
                </c:pt>
                <c:pt idx="174">
                  <c:v>677</c:v>
                </c:pt>
                <c:pt idx="175">
                  <c:v>741</c:v>
                </c:pt>
                <c:pt idx="176">
                  <c:v>811</c:v>
                </c:pt>
                <c:pt idx="177">
                  <c:v>884</c:v>
                </c:pt>
                <c:pt idx="178">
                  <c:v>963</c:v>
                </c:pt>
                <c:pt idx="179">
                  <c:v>1048</c:v>
                </c:pt>
                <c:pt idx="180">
                  <c:v>1143</c:v>
                </c:pt>
                <c:pt idx="181">
                  <c:v>1248</c:v>
                </c:pt>
                <c:pt idx="182">
                  <c:v>1363</c:v>
                </c:pt>
                <c:pt idx="183">
                  <c:v>14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12C-425E-A01F-BB5EB831CF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1408320959864159E-2"/>
          <c:y val="0.13849499407537877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36:$A$427</c:f>
              <c:numCache>
                <c:formatCode>m/d/yyyy</c:formatCode>
                <c:ptCount val="92"/>
                <c:pt idx="0">
                  <c:v>44409</c:v>
                </c:pt>
                <c:pt idx="1">
                  <c:v>44410</c:v>
                </c:pt>
                <c:pt idx="2">
                  <c:v>44411</c:v>
                </c:pt>
                <c:pt idx="3">
                  <c:v>44412</c:v>
                </c:pt>
                <c:pt idx="4">
                  <c:v>44413</c:v>
                </c:pt>
                <c:pt idx="5">
                  <c:v>44414</c:v>
                </c:pt>
                <c:pt idx="6">
                  <c:v>44415</c:v>
                </c:pt>
                <c:pt idx="7">
                  <c:v>44416</c:v>
                </c:pt>
                <c:pt idx="8">
                  <c:v>44417</c:v>
                </c:pt>
                <c:pt idx="9">
                  <c:v>44418</c:v>
                </c:pt>
                <c:pt idx="10">
                  <c:v>44419</c:v>
                </c:pt>
                <c:pt idx="11">
                  <c:v>44420</c:v>
                </c:pt>
                <c:pt idx="12">
                  <c:v>44421</c:v>
                </c:pt>
                <c:pt idx="13">
                  <c:v>44422</c:v>
                </c:pt>
                <c:pt idx="14">
                  <c:v>44423</c:v>
                </c:pt>
                <c:pt idx="15">
                  <c:v>44424</c:v>
                </c:pt>
                <c:pt idx="16">
                  <c:v>44425</c:v>
                </c:pt>
                <c:pt idx="17">
                  <c:v>44426</c:v>
                </c:pt>
                <c:pt idx="18">
                  <c:v>44427</c:v>
                </c:pt>
                <c:pt idx="19">
                  <c:v>44428</c:v>
                </c:pt>
                <c:pt idx="20">
                  <c:v>44429</c:v>
                </c:pt>
                <c:pt idx="21">
                  <c:v>44430</c:v>
                </c:pt>
                <c:pt idx="22">
                  <c:v>44431</c:v>
                </c:pt>
                <c:pt idx="23">
                  <c:v>44432</c:v>
                </c:pt>
                <c:pt idx="24">
                  <c:v>44433</c:v>
                </c:pt>
                <c:pt idx="25">
                  <c:v>44434</c:v>
                </c:pt>
                <c:pt idx="26">
                  <c:v>44435</c:v>
                </c:pt>
                <c:pt idx="27">
                  <c:v>44436</c:v>
                </c:pt>
                <c:pt idx="28">
                  <c:v>44437</c:v>
                </c:pt>
                <c:pt idx="29">
                  <c:v>44438</c:v>
                </c:pt>
                <c:pt idx="30">
                  <c:v>44439</c:v>
                </c:pt>
                <c:pt idx="31">
                  <c:v>44440</c:v>
                </c:pt>
                <c:pt idx="32">
                  <c:v>44441</c:v>
                </c:pt>
                <c:pt idx="33">
                  <c:v>44442</c:v>
                </c:pt>
                <c:pt idx="34">
                  <c:v>44443</c:v>
                </c:pt>
                <c:pt idx="35">
                  <c:v>44444</c:v>
                </c:pt>
                <c:pt idx="36">
                  <c:v>44445</c:v>
                </c:pt>
                <c:pt idx="37">
                  <c:v>44446</c:v>
                </c:pt>
                <c:pt idx="38">
                  <c:v>44447</c:v>
                </c:pt>
                <c:pt idx="39">
                  <c:v>44448</c:v>
                </c:pt>
                <c:pt idx="40">
                  <c:v>44449</c:v>
                </c:pt>
                <c:pt idx="41">
                  <c:v>44450</c:v>
                </c:pt>
                <c:pt idx="42">
                  <c:v>44451</c:v>
                </c:pt>
                <c:pt idx="43">
                  <c:v>44452</c:v>
                </c:pt>
                <c:pt idx="44">
                  <c:v>44453</c:v>
                </c:pt>
                <c:pt idx="45">
                  <c:v>44454</c:v>
                </c:pt>
                <c:pt idx="46">
                  <c:v>44455</c:v>
                </c:pt>
                <c:pt idx="47">
                  <c:v>44456</c:v>
                </c:pt>
                <c:pt idx="48">
                  <c:v>44457</c:v>
                </c:pt>
                <c:pt idx="49">
                  <c:v>44458</c:v>
                </c:pt>
                <c:pt idx="50">
                  <c:v>44459</c:v>
                </c:pt>
                <c:pt idx="51">
                  <c:v>44460</c:v>
                </c:pt>
                <c:pt idx="52">
                  <c:v>44461</c:v>
                </c:pt>
                <c:pt idx="53">
                  <c:v>44462</c:v>
                </c:pt>
                <c:pt idx="54">
                  <c:v>44463</c:v>
                </c:pt>
                <c:pt idx="55">
                  <c:v>44464</c:v>
                </c:pt>
                <c:pt idx="56">
                  <c:v>44465</c:v>
                </c:pt>
                <c:pt idx="57">
                  <c:v>44466</c:v>
                </c:pt>
                <c:pt idx="58">
                  <c:v>44467</c:v>
                </c:pt>
                <c:pt idx="59">
                  <c:v>44468</c:v>
                </c:pt>
                <c:pt idx="60">
                  <c:v>44469</c:v>
                </c:pt>
                <c:pt idx="61">
                  <c:v>44470</c:v>
                </c:pt>
                <c:pt idx="62">
                  <c:v>44471</c:v>
                </c:pt>
                <c:pt idx="63">
                  <c:v>44472</c:v>
                </c:pt>
                <c:pt idx="64">
                  <c:v>44473</c:v>
                </c:pt>
                <c:pt idx="65">
                  <c:v>44474</c:v>
                </c:pt>
                <c:pt idx="66">
                  <c:v>44475</c:v>
                </c:pt>
                <c:pt idx="67">
                  <c:v>44476</c:v>
                </c:pt>
                <c:pt idx="68">
                  <c:v>44477</c:v>
                </c:pt>
                <c:pt idx="69">
                  <c:v>44478</c:v>
                </c:pt>
                <c:pt idx="70">
                  <c:v>44479</c:v>
                </c:pt>
                <c:pt idx="71">
                  <c:v>44480</c:v>
                </c:pt>
                <c:pt idx="72">
                  <c:v>44481</c:v>
                </c:pt>
                <c:pt idx="73">
                  <c:v>44482</c:v>
                </c:pt>
                <c:pt idx="74">
                  <c:v>44483</c:v>
                </c:pt>
                <c:pt idx="75">
                  <c:v>44484</c:v>
                </c:pt>
                <c:pt idx="76">
                  <c:v>44485</c:v>
                </c:pt>
                <c:pt idx="77">
                  <c:v>44486</c:v>
                </c:pt>
                <c:pt idx="78">
                  <c:v>44487</c:v>
                </c:pt>
                <c:pt idx="79">
                  <c:v>44488</c:v>
                </c:pt>
                <c:pt idx="80">
                  <c:v>44489</c:v>
                </c:pt>
                <c:pt idx="81">
                  <c:v>44490</c:v>
                </c:pt>
                <c:pt idx="82">
                  <c:v>44491</c:v>
                </c:pt>
                <c:pt idx="83">
                  <c:v>44492</c:v>
                </c:pt>
                <c:pt idx="84">
                  <c:v>44493</c:v>
                </c:pt>
                <c:pt idx="85">
                  <c:v>44494</c:v>
                </c:pt>
                <c:pt idx="86">
                  <c:v>44495</c:v>
                </c:pt>
                <c:pt idx="87">
                  <c:v>44496</c:v>
                </c:pt>
                <c:pt idx="88">
                  <c:v>44497</c:v>
                </c:pt>
                <c:pt idx="89">
                  <c:v>44498</c:v>
                </c:pt>
                <c:pt idx="90">
                  <c:v>44499</c:v>
                </c:pt>
                <c:pt idx="91">
                  <c:v>44500</c:v>
                </c:pt>
              </c:numCache>
            </c:numRef>
          </c:cat>
          <c:val>
            <c:numRef>
              <c:f>Sheet1!$B$336:$B$427</c:f>
              <c:numCache>
                <c:formatCode>0</c:formatCode>
                <c:ptCount val="92"/>
                <c:pt idx="0">
                  <c:v>23</c:v>
                </c:pt>
                <c:pt idx="1">
                  <c:v>43</c:v>
                </c:pt>
                <c:pt idx="2">
                  <c:v>64</c:v>
                </c:pt>
                <c:pt idx="3">
                  <c:v>44</c:v>
                </c:pt>
                <c:pt idx="4">
                  <c:v>34</c:v>
                </c:pt>
                <c:pt idx="5">
                  <c:v>42</c:v>
                </c:pt>
                <c:pt idx="6">
                  <c:v>55</c:v>
                </c:pt>
                <c:pt idx="7">
                  <c:v>31</c:v>
                </c:pt>
                <c:pt idx="8">
                  <c:v>39</c:v>
                </c:pt>
                <c:pt idx="9">
                  <c:v>87</c:v>
                </c:pt>
                <c:pt idx="10">
                  <c:v>50</c:v>
                </c:pt>
                <c:pt idx="11">
                  <c:v>56</c:v>
                </c:pt>
                <c:pt idx="12">
                  <c:v>79</c:v>
                </c:pt>
                <c:pt idx="13">
                  <c:v>42</c:v>
                </c:pt>
                <c:pt idx="14">
                  <c:v>28</c:v>
                </c:pt>
                <c:pt idx="15">
                  <c:v>67</c:v>
                </c:pt>
                <c:pt idx="16">
                  <c:v>63</c:v>
                </c:pt>
                <c:pt idx="17">
                  <c:v>49</c:v>
                </c:pt>
                <c:pt idx="18">
                  <c:v>55</c:v>
                </c:pt>
                <c:pt idx="19">
                  <c:v>66</c:v>
                </c:pt>
                <c:pt idx="20">
                  <c:v>47</c:v>
                </c:pt>
                <c:pt idx="21">
                  <c:v>43</c:v>
                </c:pt>
                <c:pt idx="22">
                  <c:v>51</c:v>
                </c:pt>
                <c:pt idx="23">
                  <c:v>74</c:v>
                </c:pt>
                <c:pt idx="24">
                  <c:v>71</c:v>
                </c:pt>
                <c:pt idx="25">
                  <c:v>63</c:v>
                </c:pt>
                <c:pt idx="26">
                  <c:v>46</c:v>
                </c:pt>
                <c:pt idx="27">
                  <c:v>41</c:v>
                </c:pt>
                <c:pt idx="28">
                  <c:v>24</c:v>
                </c:pt>
                <c:pt idx="29">
                  <c:v>59</c:v>
                </c:pt>
                <c:pt idx="30">
                  <c:v>66</c:v>
                </c:pt>
                <c:pt idx="31">
                  <c:v>48</c:v>
                </c:pt>
                <c:pt idx="32">
                  <c:v>58</c:v>
                </c:pt>
                <c:pt idx="33">
                  <c:v>59</c:v>
                </c:pt>
                <c:pt idx="34">
                  <c:v>46</c:v>
                </c:pt>
                <c:pt idx="35">
                  <c:v>29</c:v>
                </c:pt>
                <c:pt idx="36">
                  <c:v>94</c:v>
                </c:pt>
                <c:pt idx="37">
                  <c:v>146</c:v>
                </c:pt>
                <c:pt idx="38">
                  <c:v>68</c:v>
                </c:pt>
                <c:pt idx="39">
                  <c:v>89</c:v>
                </c:pt>
                <c:pt idx="40">
                  <c:v>70</c:v>
                </c:pt>
                <c:pt idx="41">
                  <c:v>52</c:v>
                </c:pt>
                <c:pt idx="42">
                  <c:v>36</c:v>
                </c:pt>
                <c:pt idx="43">
                  <c:v>95</c:v>
                </c:pt>
                <c:pt idx="44">
                  <c:v>121</c:v>
                </c:pt>
                <c:pt idx="45">
                  <c:v>111</c:v>
                </c:pt>
                <c:pt idx="46">
                  <c:v>122</c:v>
                </c:pt>
                <c:pt idx="47">
                  <c:v>72</c:v>
                </c:pt>
                <c:pt idx="48">
                  <c:v>67</c:v>
                </c:pt>
                <c:pt idx="49">
                  <c:v>53</c:v>
                </c:pt>
                <c:pt idx="50">
                  <c:v>110</c:v>
                </c:pt>
                <c:pt idx="51">
                  <c:v>124</c:v>
                </c:pt>
                <c:pt idx="52">
                  <c:v>112</c:v>
                </c:pt>
                <c:pt idx="53">
                  <c:v>109</c:v>
                </c:pt>
                <c:pt idx="54">
                  <c:v>99</c:v>
                </c:pt>
                <c:pt idx="55">
                  <c:v>82</c:v>
                </c:pt>
                <c:pt idx="56">
                  <c:v>62</c:v>
                </c:pt>
                <c:pt idx="57">
                  <c:v>110</c:v>
                </c:pt>
                <c:pt idx="58">
                  <c:v>85</c:v>
                </c:pt>
                <c:pt idx="59">
                  <c:v>154</c:v>
                </c:pt>
                <c:pt idx="60">
                  <c:v>141</c:v>
                </c:pt>
                <c:pt idx="61">
                  <c:v>140</c:v>
                </c:pt>
                <c:pt idx="62">
                  <c:v>112</c:v>
                </c:pt>
                <c:pt idx="63">
                  <c:v>66</c:v>
                </c:pt>
                <c:pt idx="64">
                  <c:v>134</c:v>
                </c:pt>
                <c:pt idx="65">
                  <c:v>174</c:v>
                </c:pt>
                <c:pt idx="66">
                  <c:v>136</c:v>
                </c:pt>
                <c:pt idx="67">
                  <c:v>157</c:v>
                </c:pt>
                <c:pt idx="68">
                  <c:v>182</c:v>
                </c:pt>
                <c:pt idx="69">
                  <c:v>128</c:v>
                </c:pt>
                <c:pt idx="70">
                  <c:v>66</c:v>
                </c:pt>
                <c:pt idx="71">
                  <c:v>214</c:v>
                </c:pt>
                <c:pt idx="72">
                  <c:v>182</c:v>
                </c:pt>
                <c:pt idx="73">
                  <c:v>226</c:v>
                </c:pt>
                <c:pt idx="74">
                  <c:v>203</c:v>
                </c:pt>
                <c:pt idx="75">
                  <c:v>224</c:v>
                </c:pt>
                <c:pt idx="76">
                  <c:v>196</c:v>
                </c:pt>
                <c:pt idx="77">
                  <c:v>150</c:v>
                </c:pt>
                <c:pt idx="78">
                  <c:v>373</c:v>
                </c:pt>
                <c:pt idx="79">
                  <c:v>406</c:v>
                </c:pt>
                <c:pt idx="80">
                  <c:v>496</c:v>
                </c:pt>
                <c:pt idx="81">
                  <c:v>554</c:v>
                </c:pt>
                <c:pt idx="82">
                  <c:v>545</c:v>
                </c:pt>
                <c:pt idx="83">
                  <c:v>503</c:v>
                </c:pt>
                <c:pt idx="84">
                  <c:v>320</c:v>
                </c:pt>
                <c:pt idx="85">
                  <c:v>594</c:v>
                </c:pt>
                <c:pt idx="86">
                  <c:v>9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0F-4962-9CCB-3A06EAB110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36:$A$427</c:f>
              <c:numCache>
                <c:formatCode>m/d/yyyy</c:formatCode>
                <c:ptCount val="92"/>
                <c:pt idx="0">
                  <c:v>44409</c:v>
                </c:pt>
                <c:pt idx="1">
                  <c:v>44410</c:v>
                </c:pt>
                <c:pt idx="2">
                  <c:v>44411</c:v>
                </c:pt>
                <c:pt idx="3">
                  <c:v>44412</c:v>
                </c:pt>
                <c:pt idx="4">
                  <c:v>44413</c:v>
                </c:pt>
                <c:pt idx="5">
                  <c:v>44414</c:v>
                </c:pt>
                <c:pt idx="6">
                  <c:v>44415</c:v>
                </c:pt>
                <c:pt idx="7">
                  <c:v>44416</c:v>
                </c:pt>
                <c:pt idx="8">
                  <c:v>44417</c:v>
                </c:pt>
                <c:pt idx="9">
                  <c:v>44418</c:v>
                </c:pt>
                <c:pt idx="10">
                  <c:v>44419</c:v>
                </c:pt>
                <c:pt idx="11">
                  <c:v>44420</c:v>
                </c:pt>
                <c:pt idx="12">
                  <c:v>44421</c:v>
                </c:pt>
                <c:pt idx="13">
                  <c:v>44422</c:v>
                </c:pt>
                <c:pt idx="14">
                  <c:v>44423</c:v>
                </c:pt>
                <c:pt idx="15">
                  <c:v>44424</c:v>
                </c:pt>
                <c:pt idx="16">
                  <c:v>44425</c:v>
                </c:pt>
                <c:pt idx="17">
                  <c:v>44426</c:v>
                </c:pt>
                <c:pt idx="18">
                  <c:v>44427</c:v>
                </c:pt>
                <c:pt idx="19">
                  <c:v>44428</c:v>
                </c:pt>
                <c:pt idx="20">
                  <c:v>44429</c:v>
                </c:pt>
                <c:pt idx="21">
                  <c:v>44430</c:v>
                </c:pt>
                <c:pt idx="22">
                  <c:v>44431</c:v>
                </c:pt>
                <c:pt idx="23">
                  <c:v>44432</c:v>
                </c:pt>
                <c:pt idx="24">
                  <c:v>44433</c:v>
                </c:pt>
                <c:pt idx="25">
                  <c:v>44434</c:v>
                </c:pt>
                <c:pt idx="26">
                  <c:v>44435</c:v>
                </c:pt>
                <c:pt idx="27">
                  <c:v>44436</c:v>
                </c:pt>
                <c:pt idx="28">
                  <c:v>44437</c:v>
                </c:pt>
                <c:pt idx="29">
                  <c:v>44438</c:v>
                </c:pt>
                <c:pt idx="30">
                  <c:v>44439</c:v>
                </c:pt>
                <c:pt idx="31">
                  <c:v>44440</c:v>
                </c:pt>
                <c:pt idx="32">
                  <c:v>44441</c:v>
                </c:pt>
                <c:pt idx="33">
                  <c:v>44442</c:v>
                </c:pt>
                <c:pt idx="34">
                  <c:v>44443</c:v>
                </c:pt>
                <c:pt idx="35">
                  <c:v>44444</c:v>
                </c:pt>
                <c:pt idx="36">
                  <c:v>44445</c:v>
                </c:pt>
                <c:pt idx="37">
                  <c:v>44446</c:v>
                </c:pt>
                <c:pt idx="38">
                  <c:v>44447</c:v>
                </c:pt>
                <c:pt idx="39">
                  <c:v>44448</c:v>
                </c:pt>
                <c:pt idx="40">
                  <c:v>44449</c:v>
                </c:pt>
                <c:pt idx="41">
                  <c:v>44450</c:v>
                </c:pt>
                <c:pt idx="42">
                  <c:v>44451</c:v>
                </c:pt>
                <c:pt idx="43">
                  <c:v>44452</c:v>
                </c:pt>
                <c:pt idx="44">
                  <c:v>44453</c:v>
                </c:pt>
                <c:pt idx="45">
                  <c:v>44454</c:v>
                </c:pt>
                <c:pt idx="46">
                  <c:v>44455</c:v>
                </c:pt>
                <c:pt idx="47">
                  <c:v>44456</c:v>
                </c:pt>
                <c:pt idx="48">
                  <c:v>44457</c:v>
                </c:pt>
                <c:pt idx="49">
                  <c:v>44458</c:v>
                </c:pt>
                <c:pt idx="50">
                  <c:v>44459</c:v>
                </c:pt>
                <c:pt idx="51">
                  <c:v>44460</c:v>
                </c:pt>
                <c:pt idx="52">
                  <c:v>44461</c:v>
                </c:pt>
                <c:pt idx="53">
                  <c:v>44462</c:v>
                </c:pt>
                <c:pt idx="54">
                  <c:v>44463</c:v>
                </c:pt>
                <c:pt idx="55">
                  <c:v>44464</c:v>
                </c:pt>
                <c:pt idx="56">
                  <c:v>44465</c:v>
                </c:pt>
                <c:pt idx="57">
                  <c:v>44466</c:v>
                </c:pt>
                <c:pt idx="58">
                  <c:v>44467</c:v>
                </c:pt>
                <c:pt idx="59">
                  <c:v>44468</c:v>
                </c:pt>
                <c:pt idx="60">
                  <c:v>44469</c:v>
                </c:pt>
                <c:pt idx="61">
                  <c:v>44470</c:v>
                </c:pt>
                <c:pt idx="62">
                  <c:v>44471</c:v>
                </c:pt>
                <c:pt idx="63">
                  <c:v>44472</c:v>
                </c:pt>
                <c:pt idx="64">
                  <c:v>44473</c:v>
                </c:pt>
                <c:pt idx="65">
                  <c:v>44474</c:v>
                </c:pt>
                <c:pt idx="66">
                  <c:v>44475</c:v>
                </c:pt>
                <c:pt idx="67">
                  <c:v>44476</c:v>
                </c:pt>
                <c:pt idx="68">
                  <c:v>44477</c:v>
                </c:pt>
                <c:pt idx="69">
                  <c:v>44478</c:v>
                </c:pt>
                <c:pt idx="70">
                  <c:v>44479</c:v>
                </c:pt>
                <c:pt idx="71">
                  <c:v>44480</c:v>
                </c:pt>
                <c:pt idx="72">
                  <c:v>44481</c:v>
                </c:pt>
                <c:pt idx="73">
                  <c:v>44482</c:v>
                </c:pt>
                <c:pt idx="74">
                  <c:v>44483</c:v>
                </c:pt>
                <c:pt idx="75">
                  <c:v>44484</c:v>
                </c:pt>
                <c:pt idx="76">
                  <c:v>44485</c:v>
                </c:pt>
                <c:pt idx="77">
                  <c:v>44486</c:v>
                </c:pt>
                <c:pt idx="78">
                  <c:v>44487</c:v>
                </c:pt>
                <c:pt idx="79">
                  <c:v>44488</c:v>
                </c:pt>
                <c:pt idx="80">
                  <c:v>44489</c:v>
                </c:pt>
                <c:pt idx="81">
                  <c:v>44490</c:v>
                </c:pt>
                <c:pt idx="82">
                  <c:v>44491</c:v>
                </c:pt>
                <c:pt idx="83">
                  <c:v>44492</c:v>
                </c:pt>
                <c:pt idx="84">
                  <c:v>44493</c:v>
                </c:pt>
                <c:pt idx="85">
                  <c:v>44494</c:v>
                </c:pt>
                <c:pt idx="86">
                  <c:v>44495</c:v>
                </c:pt>
                <c:pt idx="87">
                  <c:v>44496</c:v>
                </c:pt>
                <c:pt idx="88">
                  <c:v>44497</c:v>
                </c:pt>
                <c:pt idx="89">
                  <c:v>44498</c:v>
                </c:pt>
                <c:pt idx="90">
                  <c:v>44499</c:v>
                </c:pt>
                <c:pt idx="91">
                  <c:v>44500</c:v>
                </c:pt>
              </c:numCache>
            </c:numRef>
          </c:cat>
          <c:val>
            <c:numRef>
              <c:f>Sheet1!$C$336:$C$427</c:f>
              <c:numCache>
                <c:formatCode>General</c:formatCode>
                <c:ptCount val="9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00F-4962-9CCB-3A06EAB1105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36:$A$427</c:f>
              <c:numCache>
                <c:formatCode>m/d/yyyy</c:formatCode>
                <c:ptCount val="92"/>
                <c:pt idx="0">
                  <c:v>44409</c:v>
                </c:pt>
                <c:pt idx="1">
                  <c:v>44410</c:v>
                </c:pt>
                <c:pt idx="2">
                  <c:v>44411</c:v>
                </c:pt>
                <c:pt idx="3">
                  <c:v>44412</c:v>
                </c:pt>
                <c:pt idx="4">
                  <c:v>44413</c:v>
                </c:pt>
                <c:pt idx="5">
                  <c:v>44414</c:v>
                </c:pt>
                <c:pt idx="6">
                  <c:v>44415</c:v>
                </c:pt>
                <c:pt idx="7">
                  <c:v>44416</c:v>
                </c:pt>
                <c:pt idx="8">
                  <c:v>44417</c:v>
                </c:pt>
                <c:pt idx="9">
                  <c:v>44418</c:v>
                </c:pt>
                <c:pt idx="10">
                  <c:v>44419</c:v>
                </c:pt>
                <c:pt idx="11">
                  <c:v>44420</c:v>
                </c:pt>
                <c:pt idx="12">
                  <c:v>44421</c:v>
                </c:pt>
                <c:pt idx="13">
                  <c:v>44422</c:v>
                </c:pt>
                <c:pt idx="14">
                  <c:v>44423</c:v>
                </c:pt>
                <c:pt idx="15">
                  <c:v>44424</c:v>
                </c:pt>
                <c:pt idx="16">
                  <c:v>44425</c:v>
                </c:pt>
                <c:pt idx="17">
                  <c:v>44426</c:v>
                </c:pt>
                <c:pt idx="18">
                  <c:v>44427</c:v>
                </c:pt>
                <c:pt idx="19">
                  <c:v>44428</c:v>
                </c:pt>
                <c:pt idx="20">
                  <c:v>44429</c:v>
                </c:pt>
                <c:pt idx="21">
                  <c:v>44430</c:v>
                </c:pt>
                <c:pt idx="22">
                  <c:v>44431</c:v>
                </c:pt>
                <c:pt idx="23">
                  <c:v>44432</c:v>
                </c:pt>
                <c:pt idx="24">
                  <c:v>44433</c:v>
                </c:pt>
                <c:pt idx="25">
                  <c:v>44434</c:v>
                </c:pt>
                <c:pt idx="26">
                  <c:v>44435</c:v>
                </c:pt>
                <c:pt idx="27">
                  <c:v>44436</c:v>
                </c:pt>
                <c:pt idx="28">
                  <c:v>44437</c:v>
                </c:pt>
                <c:pt idx="29">
                  <c:v>44438</c:v>
                </c:pt>
                <c:pt idx="30">
                  <c:v>44439</c:v>
                </c:pt>
                <c:pt idx="31">
                  <c:v>44440</c:v>
                </c:pt>
                <c:pt idx="32">
                  <c:v>44441</c:v>
                </c:pt>
                <c:pt idx="33">
                  <c:v>44442</c:v>
                </c:pt>
                <c:pt idx="34">
                  <c:v>44443</c:v>
                </c:pt>
                <c:pt idx="35">
                  <c:v>44444</c:v>
                </c:pt>
                <c:pt idx="36">
                  <c:v>44445</c:v>
                </c:pt>
                <c:pt idx="37">
                  <c:v>44446</c:v>
                </c:pt>
                <c:pt idx="38">
                  <c:v>44447</c:v>
                </c:pt>
                <c:pt idx="39">
                  <c:v>44448</c:v>
                </c:pt>
                <c:pt idx="40">
                  <c:v>44449</c:v>
                </c:pt>
                <c:pt idx="41">
                  <c:v>44450</c:v>
                </c:pt>
                <c:pt idx="42">
                  <c:v>44451</c:v>
                </c:pt>
                <c:pt idx="43">
                  <c:v>44452</c:v>
                </c:pt>
                <c:pt idx="44">
                  <c:v>44453</c:v>
                </c:pt>
                <c:pt idx="45">
                  <c:v>44454</c:v>
                </c:pt>
                <c:pt idx="46">
                  <c:v>44455</c:v>
                </c:pt>
                <c:pt idx="47">
                  <c:v>44456</c:v>
                </c:pt>
                <c:pt idx="48">
                  <c:v>44457</c:v>
                </c:pt>
                <c:pt idx="49">
                  <c:v>44458</c:v>
                </c:pt>
                <c:pt idx="50">
                  <c:v>44459</c:v>
                </c:pt>
                <c:pt idx="51">
                  <c:v>44460</c:v>
                </c:pt>
                <c:pt idx="52">
                  <c:v>44461</c:v>
                </c:pt>
                <c:pt idx="53">
                  <c:v>44462</c:v>
                </c:pt>
                <c:pt idx="54">
                  <c:v>44463</c:v>
                </c:pt>
                <c:pt idx="55">
                  <c:v>44464</c:v>
                </c:pt>
                <c:pt idx="56">
                  <c:v>44465</c:v>
                </c:pt>
                <c:pt idx="57">
                  <c:v>44466</c:v>
                </c:pt>
                <c:pt idx="58">
                  <c:v>44467</c:v>
                </c:pt>
                <c:pt idx="59">
                  <c:v>44468</c:v>
                </c:pt>
                <c:pt idx="60">
                  <c:v>44469</c:v>
                </c:pt>
                <c:pt idx="61">
                  <c:v>44470</c:v>
                </c:pt>
                <c:pt idx="62">
                  <c:v>44471</c:v>
                </c:pt>
                <c:pt idx="63">
                  <c:v>44472</c:v>
                </c:pt>
                <c:pt idx="64">
                  <c:v>44473</c:v>
                </c:pt>
                <c:pt idx="65">
                  <c:v>44474</c:v>
                </c:pt>
                <c:pt idx="66">
                  <c:v>44475</c:v>
                </c:pt>
                <c:pt idx="67">
                  <c:v>44476</c:v>
                </c:pt>
                <c:pt idx="68">
                  <c:v>44477</c:v>
                </c:pt>
                <c:pt idx="69">
                  <c:v>44478</c:v>
                </c:pt>
                <c:pt idx="70">
                  <c:v>44479</c:v>
                </c:pt>
                <c:pt idx="71">
                  <c:v>44480</c:v>
                </c:pt>
                <c:pt idx="72">
                  <c:v>44481</c:v>
                </c:pt>
                <c:pt idx="73">
                  <c:v>44482</c:v>
                </c:pt>
                <c:pt idx="74">
                  <c:v>44483</c:v>
                </c:pt>
                <c:pt idx="75">
                  <c:v>44484</c:v>
                </c:pt>
                <c:pt idx="76">
                  <c:v>44485</c:v>
                </c:pt>
                <c:pt idx="77">
                  <c:v>44486</c:v>
                </c:pt>
                <c:pt idx="78">
                  <c:v>44487</c:v>
                </c:pt>
                <c:pt idx="79">
                  <c:v>44488</c:v>
                </c:pt>
                <c:pt idx="80">
                  <c:v>44489</c:v>
                </c:pt>
                <c:pt idx="81">
                  <c:v>44490</c:v>
                </c:pt>
                <c:pt idx="82">
                  <c:v>44491</c:v>
                </c:pt>
                <c:pt idx="83">
                  <c:v>44492</c:v>
                </c:pt>
                <c:pt idx="84">
                  <c:v>44493</c:v>
                </c:pt>
                <c:pt idx="85">
                  <c:v>44494</c:v>
                </c:pt>
                <c:pt idx="86">
                  <c:v>44495</c:v>
                </c:pt>
                <c:pt idx="87">
                  <c:v>44496</c:v>
                </c:pt>
                <c:pt idx="88">
                  <c:v>44497</c:v>
                </c:pt>
                <c:pt idx="89">
                  <c:v>44498</c:v>
                </c:pt>
                <c:pt idx="90">
                  <c:v>44499</c:v>
                </c:pt>
                <c:pt idx="91">
                  <c:v>44500</c:v>
                </c:pt>
              </c:numCache>
            </c:numRef>
          </c:cat>
          <c:val>
            <c:numRef>
              <c:f>Sheet1!$D$336:$D$427</c:f>
              <c:numCache>
                <c:formatCode>General</c:formatCode>
                <c:ptCount val="92"/>
                <c:pt idx="61">
                  <c:v>147</c:v>
                </c:pt>
                <c:pt idx="62">
                  <c:v>153</c:v>
                </c:pt>
                <c:pt idx="63">
                  <c:v>159</c:v>
                </c:pt>
                <c:pt idx="64">
                  <c:v>165</c:v>
                </c:pt>
                <c:pt idx="65">
                  <c:v>171</c:v>
                </c:pt>
                <c:pt idx="66">
                  <c:v>177</c:v>
                </c:pt>
                <c:pt idx="67">
                  <c:v>184</c:v>
                </c:pt>
                <c:pt idx="68">
                  <c:v>191</c:v>
                </c:pt>
                <c:pt idx="69">
                  <c:v>198</c:v>
                </c:pt>
                <c:pt idx="70">
                  <c:v>206</c:v>
                </c:pt>
                <c:pt idx="71">
                  <c:v>213</c:v>
                </c:pt>
                <c:pt idx="72">
                  <c:v>221</c:v>
                </c:pt>
                <c:pt idx="73">
                  <c:v>229</c:v>
                </c:pt>
                <c:pt idx="74">
                  <c:v>238</c:v>
                </c:pt>
                <c:pt idx="75">
                  <c:v>247</c:v>
                </c:pt>
                <c:pt idx="76">
                  <c:v>256</c:v>
                </c:pt>
                <c:pt idx="77">
                  <c:v>265</c:v>
                </c:pt>
                <c:pt idx="78">
                  <c:v>275</c:v>
                </c:pt>
                <c:pt idx="79">
                  <c:v>285</c:v>
                </c:pt>
                <c:pt idx="80">
                  <c:v>295</c:v>
                </c:pt>
                <c:pt idx="81">
                  <c:v>305</c:v>
                </c:pt>
                <c:pt idx="82">
                  <c:v>317</c:v>
                </c:pt>
                <c:pt idx="83">
                  <c:v>328</c:v>
                </c:pt>
                <c:pt idx="84">
                  <c:v>340</c:v>
                </c:pt>
                <c:pt idx="85">
                  <c:v>352</c:v>
                </c:pt>
                <c:pt idx="86">
                  <c:v>364</c:v>
                </c:pt>
                <c:pt idx="87">
                  <c:v>378</c:v>
                </c:pt>
                <c:pt idx="88">
                  <c:v>391</c:v>
                </c:pt>
                <c:pt idx="89">
                  <c:v>405</c:v>
                </c:pt>
                <c:pt idx="90">
                  <c:v>419</c:v>
                </c:pt>
                <c:pt idx="91">
                  <c:v>4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00F-4962-9CCB-3A06EAB1105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36:$A$427</c:f>
              <c:numCache>
                <c:formatCode>m/d/yyyy</c:formatCode>
                <c:ptCount val="92"/>
                <c:pt idx="0">
                  <c:v>44409</c:v>
                </c:pt>
                <c:pt idx="1">
                  <c:v>44410</c:v>
                </c:pt>
                <c:pt idx="2">
                  <c:v>44411</c:v>
                </c:pt>
                <c:pt idx="3">
                  <c:v>44412</c:v>
                </c:pt>
                <c:pt idx="4">
                  <c:v>44413</c:v>
                </c:pt>
                <c:pt idx="5">
                  <c:v>44414</c:v>
                </c:pt>
                <c:pt idx="6">
                  <c:v>44415</c:v>
                </c:pt>
                <c:pt idx="7">
                  <c:v>44416</c:v>
                </c:pt>
                <c:pt idx="8">
                  <c:v>44417</c:v>
                </c:pt>
                <c:pt idx="9">
                  <c:v>44418</c:v>
                </c:pt>
                <c:pt idx="10">
                  <c:v>44419</c:v>
                </c:pt>
                <c:pt idx="11">
                  <c:v>44420</c:v>
                </c:pt>
                <c:pt idx="12">
                  <c:v>44421</c:v>
                </c:pt>
                <c:pt idx="13">
                  <c:v>44422</c:v>
                </c:pt>
                <c:pt idx="14">
                  <c:v>44423</c:v>
                </c:pt>
                <c:pt idx="15">
                  <c:v>44424</c:v>
                </c:pt>
                <c:pt idx="16">
                  <c:v>44425</c:v>
                </c:pt>
                <c:pt idx="17">
                  <c:v>44426</c:v>
                </c:pt>
                <c:pt idx="18">
                  <c:v>44427</c:v>
                </c:pt>
                <c:pt idx="19">
                  <c:v>44428</c:v>
                </c:pt>
                <c:pt idx="20">
                  <c:v>44429</c:v>
                </c:pt>
                <c:pt idx="21">
                  <c:v>44430</c:v>
                </c:pt>
                <c:pt idx="22">
                  <c:v>44431</c:v>
                </c:pt>
                <c:pt idx="23">
                  <c:v>44432</c:v>
                </c:pt>
                <c:pt idx="24">
                  <c:v>44433</c:v>
                </c:pt>
                <c:pt idx="25">
                  <c:v>44434</c:v>
                </c:pt>
                <c:pt idx="26">
                  <c:v>44435</c:v>
                </c:pt>
                <c:pt idx="27">
                  <c:v>44436</c:v>
                </c:pt>
                <c:pt idx="28">
                  <c:v>44437</c:v>
                </c:pt>
                <c:pt idx="29">
                  <c:v>44438</c:v>
                </c:pt>
                <c:pt idx="30">
                  <c:v>44439</c:v>
                </c:pt>
                <c:pt idx="31">
                  <c:v>44440</c:v>
                </c:pt>
                <c:pt idx="32">
                  <c:v>44441</c:v>
                </c:pt>
                <c:pt idx="33">
                  <c:v>44442</c:v>
                </c:pt>
                <c:pt idx="34">
                  <c:v>44443</c:v>
                </c:pt>
                <c:pt idx="35">
                  <c:v>44444</c:v>
                </c:pt>
                <c:pt idx="36">
                  <c:v>44445</c:v>
                </c:pt>
                <c:pt idx="37">
                  <c:v>44446</c:v>
                </c:pt>
                <c:pt idx="38">
                  <c:v>44447</c:v>
                </c:pt>
                <c:pt idx="39">
                  <c:v>44448</c:v>
                </c:pt>
                <c:pt idx="40">
                  <c:v>44449</c:v>
                </c:pt>
                <c:pt idx="41">
                  <c:v>44450</c:v>
                </c:pt>
                <c:pt idx="42">
                  <c:v>44451</c:v>
                </c:pt>
                <c:pt idx="43">
                  <c:v>44452</c:v>
                </c:pt>
                <c:pt idx="44">
                  <c:v>44453</c:v>
                </c:pt>
                <c:pt idx="45">
                  <c:v>44454</c:v>
                </c:pt>
                <c:pt idx="46">
                  <c:v>44455</c:v>
                </c:pt>
                <c:pt idx="47">
                  <c:v>44456</c:v>
                </c:pt>
                <c:pt idx="48">
                  <c:v>44457</c:v>
                </c:pt>
                <c:pt idx="49">
                  <c:v>44458</c:v>
                </c:pt>
                <c:pt idx="50">
                  <c:v>44459</c:v>
                </c:pt>
                <c:pt idx="51">
                  <c:v>44460</c:v>
                </c:pt>
                <c:pt idx="52">
                  <c:v>44461</c:v>
                </c:pt>
                <c:pt idx="53">
                  <c:v>44462</c:v>
                </c:pt>
                <c:pt idx="54">
                  <c:v>44463</c:v>
                </c:pt>
                <c:pt idx="55">
                  <c:v>44464</c:v>
                </c:pt>
                <c:pt idx="56">
                  <c:v>44465</c:v>
                </c:pt>
                <c:pt idx="57">
                  <c:v>44466</c:v>
                </c:pt>
                <c:pt idx="58">
                  <c:v>44467</c:v>
                </c:pt>
                <c:pt idx="59">
                  <c:v>44468</c:v>
                </c:pt>
                <c:pt idx="60">
                  <c:v>44469</c:v>
                </c:pt>
                <c:pt idx="61">
                  <c:v>44470</c:v>
                </c:pt>
                <c:pt idx="62">
                  <c:v>44471</c:v>
                </c:pt>
                <c:pt idx="63">
                  <c:v>44472</c:v>
                </c:pt>
                <c:pt idx="64">
                  <c:v>44473</c:v>
                </c:pt>
                <c:pt idx="65">
                  <c:v>44474</c:v>
                </c:pt>
                <c:pt idx="66">
                  <c:v>44475</c:v>
                </c:pt>
                <c:pt idx="67">
                  <c:v>44476</c:v>
                </c:pt>
                <c:pt idx="68">
                  <c:v>44477</c:v>
                </c:pt>
                <c:pt idx="69">
                  <c:v>44478</c:v>
                </c:pt>
                <c:pt idx="70">
                  <c:v>44479</c:v>
                </c:pt>
                <c:pt idx="71">
                  <c:v>44480</c:v>
                </c:pt>
                <c:pt idx="72">
                  <c:v>44481</c:v>
                </c:pt>
                <c:pt idx="73">
                  <c:v>44482</c:v>
                </c:pt>
                <c:pt idx="74">
                  <c:v>44483</c:v>
                </c:pt>
                <c:pt idx="75">
                  <c:v>44484</c:v>
                </c:pt>
                <c:pt idx="76">
                  <c:v>44485</c:v>
                </c:pt>
                <c:pt idx="77">
                  <c:v>44486</c:v>
                </c:pt>
                <c:pt idx="78">
                  <c:v>44487</c:v>
                </c:pt>
                <c:pt idx="79">
                  <c:v>44488</c:v>
                </c:pt>
                <c:pt idx="80">
                  <c:v>44489</c:v>
                </c:pt>
                <c:pt idx="81">
                  <c:v>44490</c:v>
                </c:pt>
                <c:pt idx="82">
                  <c:v>44491</c:v>
                </c:pt>
                <c:pt idx="83">
                  <c:v>44492</c:v>
                </c:pt>
                <c:pt idx="84">
                  <c:v>44493</c:v>
                </c:pt>
                <c:pt idx="85">
                  <c:v>44494</c:v>
                </c:pt>
                <c:pt idx="86">
                  <c:v>44495</c:v>
                </c:pt>
                <c:pt idx="87">
                  <c:v>44496</c:v>
                </c:pt>
                <c:pt idx="88">
                  <c:v>44497</c:v>
                </c:pt>
                <c:pt idx="89">
                  <c:v>44498</c:v>
                </c:pt>
                <c:pt idx="90">
                  <c:v>44499</c:v>
                </c:pt>
                <c:pt idx="91">
                  <c:v>44500</c:v>
                </c:pt>
              </c:numCache>
            </c:numRef>
          </c:cat>
          <c:val>
            <c:numRef>
              <c:f>Sheet1!$E$336:$E$427</c:f>
              <c:numCache>
                <c:formatCode>General</c:formatCode>
                <c:ptCount val="92"/>
                <c:pt idx="61">
                  <c:v>153</c:v>
                </c:pt>
                <c:pt idx="62">
                  <c:v>162</c:v>
                </c:pt>
                <c:pt idx="63">
                  <c:v>170</c:v>
                </c:pt>
                <c:pt idx="64">
                  <c:v>177</c:v>
                </c:pt>
                <c:pt idx="65">
                  <c:v>186</c:v>
                </c:pt>
                <c:pt idx="66">
                  <c:v>196</c:v>
                </c:pt>
                <c:pt idx="67">
                  <c:v>207</c:v>
                </c:pt>
                <c:pt idx="68">
                  <c:v>219</c:v>
                </c:pt>
                <c:pt idx="69">
                  <c:v>230</c:v>
                </c:pt>
                <c:pt idx="70">
                  <c:v>241</c:v>
                </c:pt>
                <c:pt idx="71">
                  <c:v>253</c:v>
                </c:pt>
                <c:pt idx="72">
                  <c:v>267</c:v>
                </c:pt>
                <c:pt idx="73">
                  <c:v>281</c:v>
                </c:pt>
                <c:pt idx="74">
                  <c:v>295</c:v>
                </c:pt>
                <c:pt idx="75">
                  <c:v>310</c:v>
                </c:pt>
                <c:pt idx="76">
                  <c:v>326</c:v>
                </c:pt>
                <c:pt idx="77">
                  <c:v>342</c:v>
                </c:pt>
                <c:pt idx="78">
                  <c:v>360</c:v>
                </c:pt>
                <c:pt idx="79">
                  <c:v>379</c:v>
                </c:pt>
                <c:pt idx="80">
                  <c:v>398</c:v>
                </c:pt>
                <c:pt idx="81">
                  <c:v>418</c:v>
                </c:pt>
                <c:pt idx="82">
                  <c:v>439</c:v>
                </c:pt>
                <c:pt idx="83">
                  <c:v>462</c:v>
                </c:pt>
                <c:pt idx="84">
                  <c:v>485</c:v>
                </c:pt>
                <c:pt idx="85">
                  <c:v>510</c:v>
                </c:pt>
                <c:pt idx="86">
                  <c:v>535</c:v>
                </c:pt>
                <c:pt idx="87">
                  <c:v>562</c:v>
                </c:pt>
                <c:pt idx="88">
                  <c:v>590</c:v>
                </c:pt>
                <c:pt idx="89">
                  <c:v>620</c:v>
                </c:pt>
                <c:pt idx="90">
                  <c:v>651</c:v>
                </c:pt>
                <c:pt idx="91">
                  <c:v>6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00F-4962-9CCB-3A06EAB1105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36:$A$427</c:f>
              <c:numCache>
                <c:formatCode>m/d/yyyy</c:formatCode>
                <c:ptCount val="92"/>
                <c:pt idx="0">
                  <c:v>44409</c:v>
                </c:pt>
                <c:pt idx="1">
                  <c:v>44410</c:v>
                </c:pt>
                <c:pt idx="2">
                  <c:v>44411</c:v>
                </c:pt>
                <c:pt idx="3">
                  <c:v>44412</c:v>
                </c:pt>
                <c:pt idx="4">
                  <c:v>44413</c:v>
                </c:pt>
                <c:pt idx="5">
                  <c:v>44414</c:v>
                </c:pt>
                <c:pt idx="6">
                  <c:v>44415</c:v>
                </c:pt>
                <c:pt idx="7">
                  <c:v>44416</c:v>
                </c:pt>
                <c:pt idx="8">
                  <c:v>44417</c:v>
                </c:pt>
                <c:pt idx="9">
                  <c:v>44418</c:v>
                </c:pt>
                <c:pt idx="10">
                  <c:v>44419</c:v>
                </c:pt>
                <c:pt idx="11">
                  <c:v>44420</c:v>
                </c:pt>
                <c:pt idx="12">
                  <c:v>44421</c:v>
                </c:pt>
                <c:pt idx="13">
                  <c:v>44422</c:v>
                </c:pt>
                <c:pt idx="14">
                  <c:v>44423</c:v>
                </c:pt>
                <c:pt idx="15">
                  <c:v>44424</c:v>
                </c:pt>
                <c:pt idx="16">
                  <c:v>44425</c:v>
                </c:pt>
                <c:pt idx="17">
                  <c:v>44426</c:v>
                </c:pt>
                <c:pt idx="18">
                  <c:v>44427</c:v>
                </c:pt>
                <c:pt idx="19">
                  <c:v>44428</c:v>
                </c:pt>
                <c:pt idx="20">
                  <c:v>44429</c:v>
                </c:pt>
                <c:pt idx="21">
                  <c:v>44430</c:v>
                </c:pt>
                <c:pt idx="22">
                  <c:v>44431</c:v>
                </c:pt>
                <c:pt idx="23">
                  <c:v>44432</c:v>
                </c:pt>
                <c:pt idx="24">
                  <c:v>44433</c:v>
                </c:pt>
                <c:pt idx="25">
                  <c:v>44434</c:v>
                </c:pt>
                <c:pt idx="26">
                  <c:v>44435</c:v>
                </c:pt>
                <c:pt idx="27">
                  <c:v>44436</c:v>
                </c:pt>
                <c:pt idx="28">
                  <c:v>44437</c:v>
                </c:pt>
                <c:pt idx="29">
                  <c:v>44438</c:v>
                </c:pt>
                <c:pt idx="30">
                  <c:v>44439</c:v>
                </c:pt>
                <c:pt idx="31">
                  <c:v>44440</c:v>
                </c:pt>
                <c:pt idx="32">
                  <c:v>44441</c:v>
                </c:pt>
                <c:pt idx="33">
                  <c:v>44442</c:v>
                </c:pt>
                <c:pt idx="34">
                  <c:v>44443</c:v>
                </c:pt>
                <c:pt idx="35">
                  <c:v>44444</c:v>
                </c:pt>
                <c:pt idx="36">
                  <c:v>44445</c:v>
                </c:pt>
                <c:pt idx="37">
                  <c:v>44446</c:v>
                </c:pt>
                <c:pt idx="38">
                  <c:v>44447</c:v>
                </c:pt>
                <c:pt idx="39">
                  <c:v>44448</c:v>
                </c:pt>
                <c:pt idx="40">
                  <c:v>44449</c:v>
                </c:pt>
                <c:pt idx="41">
                  <c:v>44450</c:v>
                </c:pt>
                <c:pt idx="42">
                  <c:v>44451</c:v>
                </c:pt>
                <c:pt idx="43">
                  <c:v>44452</c:v>
                </c:pt>
                <c:pt idx="44">
                  <c:v>44453</c:v>
                </c:pt>
                <c:pt idx="45">
                  <c:v>44454</c:v>
                </c:pt>
                <c:pt idx="46">
                  <c:v>44455</c:v>
                </c:pt>
                <c:pt idx="47">
                  <c:v>44456</c:v>
                </c:pt>
                <c:pt idx="48">
                  <c:v>44457</c:v>
                </c:pt>
                <c:pt idx="49">
                  <c:v>44458</c:v>
                </c:pt>
                <c:pt idx="50">
                  <c:v>44459</c:v>
                </c:pt>
                <c:pt idx="51">
                  <c:v>44460</c:v>
                </c:pt>
                <c:pt idx="52">
                  <c:v>44461</c:v>
                </c:pt>
                <c:pt idx="53">
                  <c:v>44462</c:v>
                </c:pt>
                <c:pt idx="54">
                  <c:v>44463</c:v>
                </c:pt>
                <c:pt idx="55">
                  <c:v>44464</c:v>
                </c:pt>
                <c:pt idx="56">
                  <c:v>44465</c:v>
                </c:pt>
                <c:pt idx="57">
                  <c:v>44466</c:v>
                </c:pt>
                <c:pt idx="58">
                  <c:v>44467</c:v>
                </c:pt>
                <c:pt idx="59">
                  <c:v>44468</c:v>
                </c:pt>
                <c:pt idx="60">
                  <c:v>44469</c:v>
                </c:pt>
                <c:pt idx="61">
                  <c:v>44470</c:v>
                </c:pt>
                <c:pt idx="62">
                  <c:v>44471</c:v>
                </c:pt>
                <c:pt idx="63">
                  <c:v>44472</c:v>
                </c:pt>
                <c:pt idx="64">
                  <c:v>44473</c:v>
                </c:pt>
                <c:pt idx="65">
                  <c:v>44474</c:v>
                </c:pt>
                <c:pt idx="66">
                  <c:v>44475</c:v>
                </c:pt>
                <c:pt idx="67">
                  <c:v>44476</c:v>
                </c:pt>
                <c:pt idx="68">
                  <c:v>44477</c:v>
                </c:pt>
                <c:pt idx="69">
                  <c:v>44478</c:v>
                </c:pt>
                <c:pt idx="70">
                  <c:v>44479</c:v>
                </c:pt>
                <c:pt idx="71">
                  <c:v>44480</c:v>
                </c:pt>
                <c:pt idx="72">
                  <c:v>44481</c:v>
                </c:pt>
                <c:pt idx="73">
                  <c:v>44482</c:v>
                </c:pt>
                <c:pt idx="74">
                  <c:v>44483</c:v>
                </c:pt>
                <c:pt idx="75">
                  <c:v>44484</c:v>
                </c:pt>
                <c:pt idx="76">
                  <c:v>44485</c:v>
                </c:pt>
                <c:pt idx="77">
                  <c:v>44486</c:v>
                </c:pt>
                <c:pt idx="78">
                  <c:v>44487</c:v>
                </c:pt>
                <c:pt idx="79">
                  <c:v>44488</c:v>
                </c:pt>
                <c:pt idx="80">
                  <c:v>44489</c:v>
                </c:pt>
                <c:pt idx="81">
                  <c:v>44490</c:v>
                </c:pt>
                <c:pt idx="82">
                  <c:v>44491</c:v>
                </c:pt>
                <c:pt idx="83">
                  <c:v>44492</c:v>
                </c:pt>
                <c:pt idx="84">
                  <c:v>44493</c:v>
                </c:pt>
                <c:pt idx="85">
                  <c:v>44494</c:v>
                </c:pt>
                <c:pt idx="86">
                  <c:v>44495</c:v>
                </c:pt>
                <c:pt idx="87">
                  <c:v>44496</c:v>
                </c:pt>
                <c:pt idx="88">
                  <c:v>44497</c:v>
                </c:pt>
                <c:pt idx="89">
                  <c:v>44498</c:v>
                </c:pt>
                <c:pt idx="90">
                  <c:v>44499</c:v>
                </c:pt>
                <c:pt idx="91">
                  <c:v>44500</c:v>
                </c:pt>
              </c:numCache>
            </c:numRef>
          </c:cat>
          <c:val>
            <c:numRef>
              <c:f>Sheet1!$F$336:$F$427</c:f>
              <c:numCache>
                <c:formatCode>General</c:formatCode>
                <c:ptCount val="92"/>
                <c:pt idx="61">
                  <c:v>158</c:v>
                </c:pt>
                <c:pt idx="62">
                  <c:v>171</c:v>
                </c:pt>
                <c:pt idx="63">
                  <c:v>181</c:v>
                </c:pt>
                <c:pt idx="64">
                  <c:v>189</c:v>
                </c:pt>
                <c:pt idx="65">
                  <c:v>201</c:v>
                </c:pt>
                <c:pt idx="66">
                  <c:v>215</c:v>
                </c:pt>
                <c:pt idx="67">
                  <c:v>231</c:v>
                </c:pt>
                <c:pt idx="68">
                  <c:v>248</c:v>
                </c:pt>
                <c:pt idx="69">
                  <c:v>263</c:v>
                </c:pt>
                <c:pt idx="70">
                  <c:v>279</c:v>
                </c:pt>
                <c:pt idx="71">
                  <c:v>297</c:v>
                </c:pt>
                <c:pt idx="72">
                  <c:v>318</c:v>
                </c:pt>
                <c:pt idx="73">
                  <c:v>339</c:v>
                </c:pt>
                <c:pt idx="74">
                  <c:v>362</c:v>
                </c:pt>
                <c:pt idx="75">
                  <c:v>385</c:v>
                </c:pt>
                <c:pt idx="76">
                  <c:v>409</c:v>
                </c:pt>
                <c:pt idx="77">
                  <c:v>436</c:v>
                </c:pt>
                <c:pt idx="78">
                  <c:v>464</c:v>
                </c:pt>
                <c:pt idx="79">
                  <c:v>495</c:v>
                </c:pt>
                <c:pt idx="80">
                  <c:v>527</c:v>
                </c:pt>
                <c:pt idx="81">
                  <c:v>561</c:v>
                </c:pt>
                <c:pt idx="82">
                  <c:v>597</c:v>
                </c:pt>
                <c:pt idx="83">
                  <c:v>635</c:v>
                </c:pt>
                <c:pt idx="84">
                  <c:v>677</c:v>
                </c:pt>
                <c:pt idx="85">
                  <c:v>721</c:v>
                </c:pt>
                <c:pt idx="86">
                  <c:v>767</c:v>
                </c:pt>
                <c:pt idx="87">
                  <c:v>816</c:v>
                </c:pt>
                <c:pt idx="88">
                  <c:v>869</c:v>
                </c:pt>
                <c:pt idx="89">
                  <c:v>925</c:v>
                </c:pt>
                <c:pt idx="90">
                  <c:v>984</c:v>
                </c:pt>
                <c:pt idx="91">
                  <c:v>10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00F-4962-9CCB-3A06EAB1105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4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36:$A$427</c:f>
              <c:numCache>
                <c:formatCode>m/d/yyyy</c:formatCode>
                <c:ptCount val="92"/>
                <c:pt idx="0">
                  <c:v>44409</c:v>
                </c:pt>
                <c:pt idx="1">
                  <c:v>44410</c:v>
                </c:pt>
                <c:pt idx="2">
                  <c:v>44411</c:v>
                </c:pt>
                <c:pt idx="3">
                  <c:v>44412</c:v>
                </c:pt>
                <c:pt idx="4">
                  <c:v>44413</c:v>
                </c:pt>
                <c:pt idx="5">
                  <c:v>44414</c:v>
                </c:pt>
                <c:pt idx="6">
                  <c:v>44415</c:v>
                </c:pt>
                <c:pt idx="7">
                  <c:v>44416</c:v>
                </c:pt>
                <c:pt idx="8">
                  <c:v>44417</c:v>
                </c:pt>
                <c:pt idx="9">
                  <c:v>44418</c:v>
                </c:pt>
                <c:pt idx="10">
                  <c:v>44419</c:v>
                </c:pt>
                <c:pt idx="11">
                  <c:v>44420</c:v>
                </c:pt>
                <c:pt idx="12">
                  <c:v>44421</c:v>
                </c:pt>
                <c:pt idx="13">
                  <c:v>44422</c:v>
                </c:pt>
                <c:pt idx="14">
                  <c:v>44423</c:v>
                </c:pt>
                <c:pt idx="15">
                  <c:v>44424</c:v>
                </c:pt>
                <c:pt idx="16">
                  <c:v>44425</c:v>
                </c:pt>
                <c:pt idx="17">
                  <c:v>44426</c:v>
                </c:pt>
                <c:pt idx="18">
                  <c:v>44427</c:v>
                </c:pt>
                <c:pt idx="19">
                  <c:v>44428</c:v>
                </c:pt>
                <c:pt idx="20">
                  <c:v>44429</c:v>
                </c:pt>
                <c:pt idx="21">
                  <c:v>44430</c:v>
                </c:pt>
                <c:pt idx="22">
                  <c:v>44431</c:v>
                </c:pt>
                <c:pt idx="23">
                  <c:v>44432</c:v>
                </c:pt>
                <c:pt idx="24">
                  <c:v>44433</c:v>
                </c:pt>
                <c:pt idx="25">
                  <c:v>44434</c:v>
                </c:pt>
                <c:pt idx="26">
                  <c:v>44435</c:v>
                </c:pt>
                <c:pt idx="27">
                  <c:v>44436</c:v>
                </c:pt>
                <c:pt idx="28">
                  <c:v>44437</c:v>
                </c:pt>
                <c:pt idx="29">
                  <c:v>44438</c:v>
                </c:pt>
                <c:pt idx="30">
                  <c:v>44439</c:v>
                </c:pt>
                <c:pt idx="31">
                  <c:v>44440</c:v>
                </c:pt>
                <c:pt idx="32">
                  <c:v>44441</c:v>
                </c:pt>
                <c:pt idx="33">
                  <c:v>44442</c:v>
                </c:pt>
                <c:pt idx="34">
                  <c:v>44443</c:v>
                </c:pt>
                <c:pt idx="35">
                  <c:v>44444</c:v>
                </c:pt>
                <c:pt idx="36">
                  <c:v>44445</c:v>
                </c:pt>
                <c:pt idx="37">
                  <c:v>44446</c:v>
                </c:pt>
                <c:pt idx="38">
                  <c:v>44447</c:v>
                </c:pt>
                <c:pt idx="39">
                  <c:v>44448</c:v>
                </c:pt>
                <c:pt idx="40">
                  <c:v>44449</c:v>
                </c:pt>
                <c:pt idx="41">
                  <c:v>44450</c:v>
                </c:pt>
                <c:pt idx="42">
                  <c:v>44451</c:v>
                </c:pt>
                <c:pt idx="43">
                  <c:v>44452</c:v>
                </c:pt>
                <c:pt idx="44">
                  <c:v>44453</c:v>
                </c:pt>
                <c:pt idx="45">
                  <c:v>44454</c:v>
                </c:pt>
                <c:pt idx="46">
                  <c:v>44455</c:v>
                </c:pt>
                <c:pt idx="47">
                  <c:v>44456</c:v>
                </c:pt>
                <c:pt idx="48">
                  <c:v>44457</c:v>
                </c:pt>
                <c:pt idx="49">
                  <c:v>44458</c:v>
                </c:pt>
                <c:pt idx="50">
                  <c:v>44459</c:v>
                </c:pt>
                <c:pt idx="51">
                  <c:v>44460</c:v>
                </c:pt>
                <c:pt idx="52">
                  <c:v>44461</c:v>
                </c:pt>
                <c:pt idx="53">
                  <c:v>44462</c:v>
                </c:pt>
                <c:pt idx="54">
                  <c:v>44463</c:v>
                </c:pt>
                <c:pt idx="55">
                  <c:v>44464</c:v>
                </c:pt>
                <c:pt idx="56">
                  <c:v>44465</c:v>
                </c:pt>
                <c:pt idx="57">
                  <c:v>44466</c:v>
                </c:pt>
                <c:pt idx="58">
                  <c:v>44467</c:v>
                </c:pt>
                <c:pt idx="59">
                  <c:v>44468</c:v>
                </c:pt>
                <c:pt idx="60">
                  <c:v>44469</c:v>
                </c:pt>
                <c:pt idx="61">
                  <c:v>44470</c:v>
                </c:pt>
                <c:pt idx="62">
                  <c:v>44471</c:v>
                </c:pt>
                <c:pt idx="63">
                  <c:v>44472</c:v>
                </c:pt>
                <c:pt idx="64">
                  <c:v>44473</c:v>
                </c:pt>
                <c:pt idx="65">
                  <c:v>44474</c:v>
                </c:pt>
                <c:pt idx="66">
                  <c:v>44475</c:v>
                </c:pt>
                <c:pt idx="67">
                  <c:v>44476</c:v>
                </c:pt>
                <c:pt idx="68">
                  <c:v>44477</c:v>
                </c:pt>
                <c:pt idx="69">
                  <c:v>44478</c:v>
                </c:pt>
                <c:pt idx="70">
                  <c:v>44479</c:v>
                </c:pt>
                <c:pt idx="71">
                  <c:v>44480</c:v>
                </c:pt>
                <c:pt idx="72">
                  <c:v>44481</c:v>
                </c:pt>
                <c:pt idx="73">
                  <c:v>44482</c:v>
                </c:pt>
                <c:pt idx="74">
                  <c:v>44483</c:v>
                </c:pt>
                <c:pt idx="75">
                  <c:v>44484</c:v>
                </c:pt>
                <c:pt idx="76">
                  <c:v>44485</c:v>
                </c:pt>
                <c:pt idx="77">
                  <c:v>44486</c:v>
                </c:pt>
                <c:pt idx="78">
                  <c:v>44487</c:v>
                </c:pt>
                <c:pt idx="79">
                  <c:v>44488</c:v>
                </c:pt>
                <c:pt idx="80">
                  <c:v>44489</c:v>
                </c:pt>
                <c:pt idx="81">
                  <c:v>44490</c:v>
                </c:pt>
                <c:pt idx="82">
                  <c:v>44491</c:v>
                </c:pt>
                <c:pt idx="83">
                  <c:v>44492</c:v>
                </c:pt>
                <c:pt idx="84">
                  <c:v>44493</c:v>
                </c:pt>
                <c:pt idx="85">
                  <c:v>44494</c:v>
                </c:pt>
                <c:pt idx="86">
                  <c:v>44495</c:v>
                </c:pt>
                <c:pt idx="87">
                  <c:v>44496</c:v>
                </c:pt>
                <c:pt idx="88">
                  <c:v>44497</c:v>
                </c:pt>
                <c:pt idx="89">
                  <c:v>44498</c:v>
                </c:pt>
                <c:pt idx="90">
                  <c:v>44499</c:v>
                </c:pt>
                <c:pt idx="91">
                  <c:v>44500</c:v>
                </c:pt>
              </c:numCache>
            </c:numRef>
          </c:cat>
          <c:val>
            <c:numRef>
              <c:f>Sheet1!$G$336:$G$427</c:f>
              <c:numCache>
                <c:formatCode>General</c:formatCode>
                <c:ptCount val="92"/>
                <c:pt idx="61">
                  <c:v>158</c:v>
                </c:pt>
                <c:pt idx="62">
                  <c:v>171</c:v>
                </c:pt>
                <c:pt idx="63">
                  <c:v>181</c:v>
                </c:pt>
                <c:pt idx="64">
                  <c:v>189</c:v>
                </c:pt>
                <c:pt idx="65">
                  <c:v>201</c:v>
                </c:pt>
                <c:pt idx="66">
                  <c:v>215</c:v>
                </c:pt>
                <c:pt idx="67">
                  <c:v>231</c:v>
                </c:pt>
                <c:pt idx="68">
                  <c:v>248</c:v>
                </c:pt>
                <c:pt idx="69">
                  <c:v>263</c:v>
                </c:pt>
                <c:pt idx="70">
                  <c:v>279</c:v>
                </c:pt>
                <c:pt idx="71">
                  <c:v>297</c:v>
                </c:pt>
                <c:pt idx="72">
                  <c:v>339</c:v>
                </c:pt>
                <c:pt idx="73">
                  <c:v>374</c:v>
                </c:pt>
                <c:pt idx="74">
                  <c:v>405</c:v>
                </c:pt>
                <c:pt idx="75">
                  <c:v>435</c:v>
                </c:pt>
                <c:pt idx="76">
                  <c:v>473</c:v>
                </c:pt>
                <c:pt idx="77">
                  <c:v>518</c:v>
                </c:pt>
                <c:pt idx="78">
                  <c:v>569</c:v>
                </c:pt>
                <c:pt idx="79">
                  <c:v>624</c:v>
                </c:pt>
                <c:pt idx="80">
                  <c:v>678</c:v>
                </c:pt>
                <c:pt idx="81">
                  <c:v>736</c:v>
                </c:pt>
                <c:pt idx="82">
                  <c:v>802</c:v>
                </c:pt>
                <c:pt idx="83">
                  <c:v>878</c:v>
                </c:pt>
                <c:pt idx="84">
                  <c:v>960</c:v>
                </c:pt>
                <c:pt idx="85">
                  <c:v>1047</c:v>
                </c:pt>
                <c:pt idx="86">
                  <c:v>1140</c:v>
                </c:pt>
                <c:pt idx="87">
                  <c:v>1241</c:v>
                </c:pt>
                <c:pt idx="88">
                  <c:v>1354</c:v>
                </c:pt>
                <c:pt idx="89">
                  <c:v>1478</c:v>
                </c:pt>
                <c:pt idx="90">
                  <c:v>1614</c:v>
                </c:pt>
                <c:pt idx="91">
                  <c:v>17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00F-4962-9CCB-3A06EAB110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H$122:$H$274</c:f>
              <c:numCache>
                <c:formatCode>0</c:formatCode>
                <c:ptCount val="15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F8-40A4-B203-95E23E79D55C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I$122:$I$274</c:f>
              <c:numCache>
                <c:formatCode>0</c:formatCode>
                <c:ptCount val="153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0F8-40A4-B203-95E23E79D5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B$122:$B$274</c:f>
              <c:numCache>
                <c:formatCode>0</c:formatCode>
                <c:ptCount val="153"/>
                <c:pt idx="0">
                  <c:v>33.952754532483148</c:v>
                </c:pt>
                <c:pt idx="1">
                  <c:v>31.270067754607933</c:v>
                </c:pt>
                <c:pt idx="2">
                  <c:v>28.922716823967125</c:v>
                </c:pt>
                <c:pt idx="3">
                  <c:v>28.168211167689723</c:v>
                </c:pt>
                <c:pt idx="4">
                  <c:v>27.749041358646718</c:v>
                </c:pt>
                <c:pt idx="5">
                  <c:v>26.826867778752113</c:v>
                </c:pt>
                <c:pt idx="6">
                  <c:v>24.982520618962909</c:v>
                </c:pt>
                <c:pt idx="7">
                  <c:v>21.377660261193093</c:v>
                </c:pt>
                <c:pt idx="8">
                  <c:v>20.287818757681286</c:v>
                </c:pt>
                <c:pt idx="9">
                  <c:v>17.353630094380275</c:v>
                </c:pt>
                <c:pt idx="10">
                  <c:v>15.173947087356664</c:v>
                </c:pt>
                <c:pt idx="11">
                  <c:v>15.090113125548065</c:v>
                </c:pt>
                <c:pt idx="12">
                  <c:v>14.838611240122264</c:v>
                </c:pt>
                <c:pt idx="13">
                  <c:v>12.323592385864252</c:v>
                </c:pt>
                <c:pt idx="14">
                  <c:v>11.401418805969648</c:v>
                </c:pt>
                <c:pt idx="15">
                  <c:v>9.5570716461804395</c:v>
                </c:pt>
                <c:pt idx="16">
                  <c:v>10.060075417032042</c:v>
                </c:pt>
                <c:pt idx="17">
                  <c:v>9.8924074934148418</c:v>
                </c:pt>
                <c:pt idx="18">
                  <c:v>8.8863999517116383</c:v>
                </c:pt>
                <c:pt idx="19">
                  <c:v>8.8025659899030373</c:v>
                </c:pt>
                <c:pt idx="20">
                  <c:v>8.8863999517116383</c:v>
                </c:pt>
                <c:pt idx="21">
                  <c:v>8.1318942954342344</c:v>
                </c:pt>
                <c:pt idx="22">
                  <c:v>8.2157282572428354</c:v>
                </c:pt>
                <c:pt idx="23">
                  <c:v>6.7067169446880284</c:v>
                </c:pt>
                <c:pt idx="24">
                  <c:v>6.7067169446880284</c:v>
                </c:pt>
                <c:pt idx="25">
                  <c:v>6.7905509064966294</c:v>
                </c:pt>
                <c:pt idx="26">
                  <c:v>6.7067169446880284</c:v>
                </c:pt>
                <c:pt idx="27">
                  <c:v>6.6228829828794282</c:v>
                </c:pt>
                <c:pt idx="28">
                  <c:v>6.8743848683052287</c:v>
                </c:pt>
                <c:pt idx="29">
                  <c:v>6.6228829828794282</c:v>
                </c:pt>
                <c:pt idx="30">
                  <c:v>7.293554677348232</c:v>
                </c:pt>
                <c:pt idx="31">
                  <c:v>7.293554677348232</c:v>
                </c:pt>
                <c:pt idx="32">
                  <c:v>7.7965584481998338</c:v>
                </c:pt>
                <c:pt idx="33">
                  <c:v>7.3773886391568313</c:v>
                </c:pt>
                <c:pt idx="34">
                  <c:v>6.7067169446880284</c:v>
                </c:pt>
                <c:pt idx="35">
                  <c:v>5.5330414793676237</c:v>
                </c:pt>
                <c:pt idx="36">
                  <c:v>6.2875471356450277</c:v>
                </c:pt>
                <c:pt idx="37">
                  <c:v>5.8683773266020252</c:v>
                </c:pt>
                <c:pt idx="38">
                  <c:v>6.5390490210708281</c:v>
                </c:pt>
                <c:pt idx="39">
                  <c:v>6.3713810974536269</c:v>
                </c:pt>
                <c:pt idx="40">
                  <c:v>7.12588675373103</c:v>
                </c:pt>
                <c:pt idx="41">
                  <c:v>7.880392410008433</c:v>
                </c:pt>
                <c:pt idx="42">
                  <c:v>9.8085735316062408</c:v>
                </c:pt>
                <c:pt idx="43">
                  <c:v>8.634898066285837</c:v>
                </c:pt>
                <c:pt idx="44">
                  <c:v>8.1318942954342344</c:v>
                </c:pt>
                <c:pt idx="45">
                  <c:v>7.7127244863912328</c:v>
                </c:pt>
                <c:pt idx="46">
                  <c:v>7.7127244863912328</c:v>
                </c:pt>
                <c:pt idx="47">
                  <c:v>7.6288905245826326</c:v>
                </c:pt>
                <c:pt idx="48">
                  <c:v>7.5450565627740325</c:v>
                </c:pt>
                <c:pt idx="49">
                  <c:v>6.7905509064966294</c:v>
                </c:pt>
                <c:pt idx="50">
                  <c:v>7.6288905245826326</c:v>
                </c:pt>
                <c:pt idx="51">
                  <c:v>8.2157282572428354</c:v>
                </c:pt>
                <c:pt idx="52">
                  <c:v>7.5450565627740325</c:v>
                </c:pt>
                <c:pt idx="53">
                  <c:v>7.0420527919224307</c:v>
                </c:pt>
                <c:pt idx="54">
                  <c:v>6.7067169446880284</c:v>
                </c:pt>
                <c:pt idx="55">
                  <c:v>6.0360452502192254</c:v>
                </c:pt>
                <c:pt idx="56">
                  <c:v>5.4492075175590236</c:v>
                </c:pt>
                <c:pt idx="57">
                  <c:v>4.6947018612816196</c:v>
                </c:pt>
                <c:pt idx="58">
                  <c:v>4.4431999758558192</c:v>
                </c:pt>
                <c:pt idx="59">
                  <c:v>4.359366014047219</c:v>
                </c:pt>
                <c:pt idx="60">
                  <c:v>4.6947018612816196</c:v>
                </c:pt>
                <c:pt idx="61">
                  <c:v>4.359366014047219</c:v>
                </c:pt>
                <c:pt idx="62">
                  <c:v>4.1078641286214177</c:v>
                </c:pt>
                <c:pt idx="63">
                  <c:v>4.359366014047219</c:v>
                </c:pt>
                <c:pt idx="64">
                  <c:v>4.8623697848988208</c:v>
                </c:pt>
                <c:pt idx="65">
                  <c:v>4.9462037467074209</c:v>
                </c:pt>
                <c:pt idx="66">
                  <c:v>4.8623697848988208</c:v>
                </c:pt>
                <c:pt idx="67">
                  <c:v>4.9462037467074209</c:v>
                </c:pt>
                <c:pt idx="68">
                  <c:v>5.1977056321332222</c:v>
                </c:pt>
                <c:pt idx="69">
                  <c:v>5.8683773266020252</c:v>
                </c:pt>
                <c:pt idx="70">
                  <c:v>6.4552150592622279</c:v>
                </c:pt>
                <c:pt idx="71">
                  <c:v>6.7067169446880284</c:v>
                </c:pt>
                <c:pt idx="72">
                  <c:v>6.9582188301138297</c:v>
                </c:pt>
                <c:pt idx="73">
                  <c:v>6.7905509064966294</c:v>
                </c:pt>
                <c:pt idx="74">
                  <c:v>7.0420527919224307</c:v>
                </c:pt>
                <c:pt idx="75">
                  <c:v>7.293554677348232</c:v>
                </c:pt>
                <c:pt idx="76">
                  <c:v>7.293554677348232</c:v>
                </c:pt>
                <c:pt idx="77">
                  <c:v>7.4612226009654323</c:v>
                </c:pt>
                <c:pt idx="78">
                  <c:v>7.293554677348232</c:v>
                </c:pt>
                <c:pt idx="79">
                  <c:v>7.7965584481998338</c:v>
                </c:pt>
                <c:pt idx="80">
                  <c:v>7.7965584481998338</c:v>
                </c:pt>
                <c:pt idx="81">
                  <c:v>7.293554677348232</c:v>
                </c:pt>
                <c:pt idx="82">
                  <c:v>7.209720715539631</c:v>
                </c:pt>
                <c:pt idx="83">
                  <c:v>7.12588675373103</c:v>
                </c:pt>
                <c:pt idx="84">
                  <c:v>6.2037131738364266</c:v>
                </c:pt>
                <c:pt idx="85">
                  <c:v>6.8743848683052287</c:v>
                </c:pt>
                <c:pt idx="86">
                  <c:v>6.2875471356450277</c:v>
                </c:pt>
                <c:pt idx="87">
                  <c:v>6.8743848683052287</c:v>
                </c:pt>
                <c:pt idx="88">
                  <c:v>7.0420527919224307</c:v>
                </c:pt>
                <c:pt idx="89">
                  <c:v>7.0420527919224307</c:v>
                </c:pt>
                <c:pt idx="90">
                  <c:v>7.7965584481998338</c:v>
                </c:pt>
                <c:pt idx="91">
                  <c:v>9.1379018371374396</c:v>
                </c:pt>
                <c:pt idx="92">
                  <c:v>8.3833961808600357</c:v>
                </c:pt>
                <c:pt idx="93">
                  <c:v>9.3055697607546399</c:v>
                </c:pt>
                <c:pt idx="94">
                  <c:v>11.82058861501265</c:v>
                </c:pt>
                <c:pt idx="95">
                  <c:v>12.323592385864252</c:v>
                </c:pt>
                <c:pt idx="96">
                  <c:v>12.575094271290055</c:v>
                </c:pt>
                <c:pt idx="97">
                  <c:v>13.916437660227659</c:v>
                </c:pt>
                <c:pt idx="98">
                  <c:v>16.599124438102873</c:v>
                </c:pt>
                <c:pt idx="99">
                  <c:v>19.784814986829684</c:v>
                </c:pt>
                <c:pt idx="100">
                  <c:v>22.551335726513496</c:v>
                </c:pt>
                <c:pt idx="101">
                  <c:v>23.557343268216698</c:v>
                </c:pt>
                <c:pt idx="102">
                  <c:v>25.737026275240311</c:v>
                </c:pt>
                <c:pt idx="103">
                  <c:v>26.491531931517713</c:v>
                </c:pt>
                <c:pt idx="104">
                  <c:v>29.92872436567033</c:v>
                </c:pt>
                <c:pt idx="105">
                  <c:v>31.856905487268136</c:v>
                </c:pt>
                <c:pt idx="106">
                  <c:v>34.623426226951949</c:v>
                </c:pt>
                <c:pt idx="107">
                  <c:v>35.545599806846553</c:v>
                </c:pt>
                <c:pt idx="108">
                  <c:v>38.312120546530359</c:v>
                </c:pt>
                <c:pt idx="109">
                  <c:v>37.892950737487361</c:v>
                </c:pt>
                <c:pt idx="110">
                  <c:v>39.569629973659367</c:v>
                </c:pt>
                <c:pt idx="111">
                  <c:v>41.078641286214179</c:v>
                </c:pt>
                <c:pt idx="112">
                  <c:v>43.090656369620589</c:v>
                </c:pt>
                <c:pt idx="113">
                  <c:v>43.928995987706593</c:v>
                </c:pt>
                <c:pt idx="114">
                  <c:v>46.611682765581797</c:v>
                </c:pt>
                <c:pt idx="115">
                  <c:v>47.366188421859199</c:v>
                </c:pt>
                <c:pt idx="116">
                  <c:v>48.79136577260541</c:v>
                </c:pt>
                <c:pt idx="117">
                  <c:v>48.204528039945203</c:v>
                </c:pt>
                <c:pt idx="118">
                  <c:v>50.551878970586024</c:v>
                </c:pt>
                <c:pt idx="119">
                  <c:v>47.114686536433396</c:v>
                </c:pt>
                <c:pt idx="120">
                  <c:v>47.114686536433396</c:v>
                </c:pt>
                <c:pt idx="121">
                  <c:v>51.893222359523627</c:v>
                </c:pt>
                <c:pt idx="122">
                  <c:v>54.492075175590237</c:v>
                </c:pt>
                <c:pt idx="123">
                  <c:v>57.342429877082644</c:v>
                </c:pt>
                <c:pt idx="124">
                  <c:v>60.108950616766464</c:v>
                </c:pt>
                <c:pt idx="125">
                  <c:v>60.025116654957863</c:v>
                </c:pt>
                <c:pt idx="126">
                  <c:v>73.270882620716719</c:v>
                </c:pt>
                <c:pt idx="127">
                  <c:v>82.241116534236951</c:v>
                </c:pt>
                <c:pt idx="128">
                  <c:v>83.666293884983162</c:v>
                </c:pt>
                <c:pt idx="129">
                  <c:v>90.456844791479782</c:v>
                </c:pt>
                <c:pt idx="130">
                  <c:v>94.816210805527007</c:v>
                </c:pt>
                <c:pt idx="131">
                  <c:v>95.654550423613017</c:v>
                </c:pt>
                <c:pt idx="132">
                  <c:v>105.46312395521925</c:v>
                </c:pt>
                <c:pt idx="133">
                  <c:v>110.74466354916107</c:v>
                </c:pt>
                <c:pt idx="134">
                  <c:v>116.69687483757171</c:v>
                </c:pt>
                <c:pt idx="135">
                  <c:v>123.31975782045113</c:v>
                </c:pt>
                <c:pt idx="136">
                  <c:v>136.06252001535839</c:v>
                </c:pt>
                <c:pt idx="137">
                  <c:v>140.8410558384486</c:v>
                </c:pt>
                <c:pt idx="138">
                  <c:v>149.89512371377742</c:v>
                </c:pt>
                <c:pt idx="139">
                  <c:v>171.77578774582213</c:v>
                </c:pt>
                <c:pt idx="140">
                  <c:v>196.42297251755065</c:v>
                </c:pt>
                <c:pt idx="141">
                  <c:v>223.33367425811136</c:v>
                </c:pt>
                <c:pt idx="142">
                  <c:v>248.40002883888286</c:v>
                </c:pt>
                <c:pt idx="143">
                  <c:v>274.30472303774036</c:v>
                </c:pt>
                <c:pt idx="144">
                  <c:v>296.52072291701944</c:v>
                </c:pt>
                <c:pt idx="145">
                  <c:v>309.34731907373532</c:v>
                </c:pt>
                <c:pt idx="146">
                  <c:v>326.8686170917328</c:v>
                </c:pt>
                <c:pt idx="147">
                  <c:v>355.7913339156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0F8-40A4-B203-95E23E79D5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C$122:$C$274</c:f>
              <c:numCache>
                <c:formatCode>General</c:formatCode>
                <c:ptCount val="15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0F8-40A4-B203-95E23E79D55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1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D$122:$D$274</c:f>
              <c:numCache>
                <c:formatCode>General</c:formatCode>
                <c:ptCount val="153"/>
                <c:pt idx="122">
                  <c:v>52.563894053992421</c:v>
                </c:pt>
                <c:pt idx="123">
                  <c:v>54.575909137398831</c:v>
                </c:pt>
                <c:pt idx="124">
                  <c:v>56.671758182613836</c:v>
                </c:pt>
                <c:pt idx="125">
                  <c:v>58.851441189637448</c:v>
                </c:pt>
                <c:pt idx="126">
                  <c:v>61.114958158469662</c:v>
                </c:pt>
                <c:pt idx="127">
                  <c:v>63.378475127301868</c:v>
                </c:pt>
                <c:pt idx="128">
                  <c:v>65.809660019751277</c:v>
                </c:pt>
                <c:pt idx="129">
                  <c:v>68.324678874009294</c:v>
                </c:pt>
                <c:pt idx="130">
                  <c:v>70.839697728267296</c:v>
                </c:pt>
                <c:pt idx="131">
                  <c:v>73.438550544333921</c:v>
                </c:pt>
                <c:pt idx="132">
                  <c:v>76.121237322209126</c:v>
                </c:pt>
                <c:pt idx="133">
                  <c:v>78.971592023701533</c:v>
                </c:pt>
                <c:pt idx="134">
                  <c:v>81.905780687002547</c:v>
                </c:pt>
                <c:pt idx="135">
                  <c:v>84.923803312112156</c:v>
                </c:pt>
                <c:pt idx="136">
                  <c:v>88.025659899030387</c:v>
                </c:pt>
                <c:pt idx="137">
                  <c:v>91.295184409565792</c:v>
                </c:pt>
                <c:pt idx="138">
                  <c:v>94.648542881909805</c:v>
                </c:pt>
                <c:pt idx="139">
                  <c:v>98.16956927787102</c:v>
                </c:pt>
                <c:pt idx="140">
                  <c:v>101.77442963564083</c:v>
                </c:pt>
                <c:pt idx="141">
                  <c:v>105.54695791702784</c:v>
                </c:pt>
                <c:pt idx="142">
                  <c:v>109.40332016022346</c:v>
                </c:pt>
                <c:pt idx="143">
                  <c:v>113.34351636522767</c:v>
                </c:pt>
                <c:pt idx="144">
                  <c:v>117.4513804938491</c:v>
                </c:pt>
                <c:pt idx="145">
                  <c:v>121.72691254608772</c:v>
                </c:pt>
                <c:pt idx="146">
                  <c:v>126.08627856013493</c:v>
                </c:pt>
                <c:pt idx="147">
                  <c:v>130.61331249779937</c:v>
                </c:pt>
                <c:pt idx="148">
                  <c:v>135.30801435908097</c:v>
                </c:pt>
                <c:pt idx="149">
                  <c:v>140.17038414397982</c:v>
                </c:pt>
                <c:pt idx="150">
                  <c:v>145.20042185249582</c:v>
                </c:pt>
                <c:pt idx="151">
                  <c:v>150.39812748462904</c:v>
                </c:pt>
                <c:pt idx="152">
                  <c:v>155.763501040379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0F8-40A4-B203-95E23E79D55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E$122:$E$274</c:f>
              <c:numCache>
                <c:formatCode>General</c:formatCode>
                <c:ptCount val="153"/>
                <c:pt idx="122">
                  <c:v>52.815395939418224</c:v>
                </c:pt>
                <c:pt idx="123">
                  <c:v>55.330414793676233</c:v>
                </c:pt>
                <c:pt idx="124">
                  <c:v>58.013101571551452</c:v>
                </c:pt>
                <c:pt idx="125">
                  <c:v>60.863456273043859</c:v>
                </c:pt>
                <c:pt idx="126">
                  <c:v>63.965312859962076</c:v>
                </c:pt>
                <c:pt idx="127">
                  <c:v>67.318671332306081</c:v>
                </c:pt>
                <c:pt idx="128">
                  <c:v>71.007365651884498</c:v>
                </c:pt>
                <c:pt idx="129">
                  <c:v>74.779893933271524</c:v>
                </c:pt>
                <c:pt idx="130">
                  <c:v>78.636256176467128</c:v>
                </c:pt>
                <c:pt idx="131">
                  <c:v>82.66028634327995</c:v>
                </c:pt>
                <c:pt idx="132">
                  <c:v>86.935818395518567</c:v>
                </c:pt>
                <c:pt idx="133">
                  <c:v>91.462852333182994</c:v>
                </c:pt>
                <c:pt idx="134">
                  <c:v>96.241388156273203</c:v>
                </c:pt>
                <c:pt idx="135">
                  <c:v>101.27142586478922</c:v>
                </c:pt>
                <c:pt idx="136">
                  <c:v>106.46913149692246</c:v>
                </c:pt>
                <c:pt idx="137">
                  <c:v>111.91833901448149</c:v>
                </c:pt>
                <c:pt idx="138">
                  <c:v>117.7028823792749</c:v>
                </c:pt>
                <c:pt idx="139">
                  <c:v>123.82276159130274</c:v>
                </c:pt>
                <c:pt idx="140">
                  <c:v>130.19414268875636</c:v>
                </c:pt>
                <c:pt idx="141">
                  <c:v>136.8170256716358</c:v>
                </c:pt>
                <c:pt idx="142">
                  <c:v>143.77524450174963</c:v>
                </c:pt>
                <c:pt idx="143">
                  <c:v>151.06879917909785</c:v>
                </c:pt>
                <c:pt idx="144">
                  <c:v>158.69768970368048</c:v>
                </c:pt>
                <c:pt idx="145">
                  <c:v>166.74575003730612</c:v>
                </c:pt>
                <c:pt idx="146">
                  <c:v>175.21298017997475</c:v>
                </c:pt>
                <c:pt idx="147">
                  <c:v>184.09938013168639</c:v>
                </c:pt>
                <c:pt idx="148">
                  <c:v>193.40494989244101</c:v>
                </c:pt>
                <c:pt idx="149">
                  <c:v>203.21352342404725</c:v>
                </c:pt>
                <c:pt idx="150">
                  <c:v>213.52510072650514</c:v>
                </c:pt>
                <c:pt idx="151">
                  <c:v>224.33968179981457</c:v>
                </c:pt>
                <c:pt idx="152">
                  <c:v>235.657266643975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0F8-40A4-B203-95E23E79D55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F$122:$F$274</c:f>
              <c:numCache>
                <c:formatCode>General</c:formatCode>
                <c:ptCount val="153"/>
                <c:pt idx="122">
                  <c:v>53.150731786652628</c:v>
                </c:pt>
                <c:pt idx="123">
                  <c:v>56.084920449953643</c:v>
                </c:pt>
                <c:pt idx="124">
                  <c:v>59.354444960489054</c:v>
                </c:pt>
                <c:pt idx="125">
                  <c:v>62.875471356450262</c:v>
                </c:pt>
                <c:pt idx="126">
                  <c:v>66.815667561454475</c:v>
                </c:pt>
                <c:pt idx="127">
                  <c:v>71.258867537310309</c:v>
                </c:pt>
                <c:pt idx="128">
                  <c:v>76.372739207634922</c:v>
                </c:pt>
                <c:pt idx="129">
                  <c:v>81.486610877959549</c:v>
                </c:pt>
                <c:pt idx="130">
                  <c:v>86.768150471901365</c:v>
                </c:pt>
                <c:pt idx="131">
                  <c:v>92.385025913077584</c:v>
                </c:pt>
                <c:pt idx="132">
                  <c:v>98.504905125105424</c:v>
                </c:pt>
                <c:pt idx="133">
                  <c:v>105.12778810798484</c:v>
                </c:pt>
                <c:pt idx="134">
                  <c:v>112.16984089990729</c:v>
                </c:pt>
                <c:pt idx="135">
                  <c:v>119.54722953906412</c:v>
                </c:pt>
                <c:pt idx="136">
                  <c:v>127.25995402545534</c:v>
                </c:pt>
                <c:pt idx="137">
                  <c:v>135.5595162445068</c:v>
                </c:pt>
                <c:pt idx="138">
                  <c:v>144.44591619621843</c:v>
                </c:pt>
                <c:pt idx="139">
                  <c:v>153.91915388059024</c:v>
                </c:pt>
                <c:pt idx="140">
                  <c:v>163.97922929762231</c:v>
                </c:pt>
                <c:pt idx="141">
                  <c:v>174.62614244731455</c:v>
                </c:pt>
                <c:pt idx="142">
                  <c:v>185.9437272914756</c:v>
                </c:pt>
                <c:pt idx="143">
                  <c:v>198.01581779191403</c:v>
                </c:pt>
                <c:pt idx="144">
                  <c:v>210.84241394862991</c:v>
                </c:pt>
                <c:pt idx="145">
                  <c:v>224.50734972343179</c:v>
                </c:pt>
                <c:pt idx="146">
                  <c:v>239.09445907812824</c:v>
                </c:pt>
                <c:pt idx="147">
                  <c:v>254.51990805091069</c:v>
                </c:pt>
                <c:pt idx="148">
                  <c:v>270.95136456539637</c:v>
                </c:pt>
                <c:pt idx="149">
                  <c:v>288.38882862158528</c:v>
                </c:pt>
                <c:pt idx="150">
                  <c:v>306.99996814309452</c:v>
                </c:pt>
                <c:pt idx="151">
                  <c:v>326.78478312992422</c:v>
                </c:pt>
                <c:pt idx="152">
                  <c:v>347.82710754388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00F8-40A4-B203-95E23E79D55C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4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G$122:$G$274</c:f>
              <c:numCache>
                <c:formatCode>General</c:formatCode>
                <c:ptCount val="153"/>
                <c:pt idx="122">
                  <c:v>53.150731786652628</c:v>
                </c:pt>
                <c:pt idx="123">
                  <c:v>56.084920449953643</c:v>
                </c:pt>
                <c:pt idx="124">
                  <c:v>59.354444960489054</c:v>
                </c:pt>
                <c:pt idx="125">
                  <c:v>62.875471356450262</c:v>
                </c:pt>
                <c:pt idx="126">
                  <c:v>66.815667561454475</c:v>
                </c:pt>
                <c:pt idx="127">
                  <c:v>71.258867537310309</c:v>
                </c:pt>
                <c:pt idx="128">
                  <c:v>76.372739207634922</c:v>
                </c:pt>
                <c:pt idx="129">
                  <c:v>81.486610877959549</c:v>
                </c:pt>
                <c:pt idx="130">
                  <c:v>86.768150471901365</c:v>
                </c:pt>
                <c:pt idx="131">
                  <c:v>92.385025913077584</c:v>
                </c:pt>
                <c:pt idx="132">
                  <c:v>98.504905125105424</c:v>
                </c:pt>
                <c:pt idx="133">
                  <c:v>106.30146357330526</c:v>
                </c:pt>
                <c:pt idx="134">
                  <c:v>115.27169748682549</c:v>
                </c:pt>
                <c:pt idx="135">
                  <c:v>125.08027101843173</c:v>
                </c:pt>
                <c:pt idx="136">
                  <c:v>135.64335020631538</c:v>
                </c:pt>
                <c:pt idx="137">
                  <c:v>147.54777278313662</c:v>
                </c:pt>
                <c:pt idx="138">
                  <c:v>161.12887459612989</c:v>
                </c:pt>
                <c:pt idx="139">
                  <c:v>176.55432356891234</c:v>
                </c:pt>
                <c:pt idx="140">
                  <c:v>192.81811215978081</c:v>
                </c:pt>
                <c:pt idx="141">
                  <c:v>210.08790829235252</c:v>
                </c:pt>
                <c:pt idx="142">
                  <c:v>228.86671573747898</c:v>
                </c:pt>
                <c:pt idx="143">
                  <c:v>249.74137222782048</c:v>
                </c:pt>
                <c:pt idx="144">
                  <c:v>272.71187776337695</c:v>
                </c:pt>
                <c:pt idx="145">
                  <c:v>297.77823234414848</c:v>
                </c:pt>
                <c:pt idx="146">
                  <c:v>324.94043597013501</c:v>
                </c:pt>
                <c:pt idx="147">
                  <c:v>354.1984886413365</c:v>
                </c:pt>
                <c:pt idx="148">
                  <c:v>386.13922809041321</c:v>
                </c:pt>
                <c:pt idx="149">
                  <c:v>421.26565808821681</c:v>
                </c:pt>
                <c:pt idx="150">
                  <c:v>459.66161259655581</c:v>
                </c:pt>
                <c:pt idx="151">
                  <c:v>501.4109255772388</c:v>
                </c:pt>
                <c:pt idx="152">
                  <c:v>546.765098915691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00F8-40A4-B203-95E23E79D5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H$122:$H$274</c:f>
              <c:numCache>
                <c:formatCode>0</c:formatCode>
                <c:ptCount val="15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7-4169-846F-DF9410986C03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I$122:$I$274</c:f>
              <c:numCache>
                <c:formatCode>0</c:formatCode>
                <c:ptCount val="153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397-4169-846F-DF9410986C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B$122:$B$274</c:f>
              <c:numCache>
                <c:formatCode>0</c:formatCode>
                <c:ptCount val="153"/>
                <c:pt idx="0">
                  <c:v>23.893627666873396</c:v>
                </c:pt>
                <c:pt idx="1">
                  <c:v>22.32069293018267</c:v>
                </c:pt>
                <c:pt idx="2">
                  <c:v>24.492840899898432</c:v>
                </c:pt>
                <c:pt idx="3">
                  <c:v>24.043430975129652</c:v>
                </c:pt>
                <c:pt idx="4">
                  <c:v>23.519119396232746</c:v>
                </c:pt>
                <c:pt idx="5">
                  <c:v>23.219512779720226</c:v>
                </c:pt>
                <c:pt idx="6">
                  <c:v>23.1446111255921</c:v>
                </c:pt>
                <c:pt idx="7">
                  <c:v>23.219512779720226</c:v>
                </c:pt>
                <c:pt idx="8">
                  <c:v>22.021086313670153</c:v>
                </c:pt>
                <c:pt idx="9">
                  <c:v>18.276003607263661</c:v>
                </c:pt>
                <c:pt idx="10">
                  <c:v>16.927773832957328</c:v>
                </c:pt>
                <c:pt idx="11">
                  <c:v>15.72934736690725</c:v>
                </c:pt>
                <c:pt idx="12">
                  <c:v>14.830527517369692</c:v>
                </c:pt>
                <c:pt idx="13">
                  <c:v>13.407396088935229</c:v>
                </c:pt>
                <c:pt idx="14">
                  <c:v>11.984264660500763</c:v>
                </c:pt>
                <c:pt idx="15">
                  <c:v>12.134067968757023</c:v>
                </c:pt>
                <c:pt idx="16">
                  <c:v>13.931707667832137</c:v>
                </c:pt>
                <c:pt idx="17">
                  <c:v>14.530920900857176</c:v>
                </c:pt>
                <c:pt idx="18">
                  <c:v>15.205035788010344</c:v>
                </c:pt>
                <c:pt idx="19">
                  <c:v>16.103855637547898</c:v>
                </c:pt>
                <c:pt idx="20">
                  <c:v>17.152478795341715</c:v>
                </c:pt>
                <c:pt idx="21">
                  <c:v>16.703068870572938</c:v>
                </c:pt>
                <c:pt idx="22">
                  <c:v>16.178757291676028</c:v>
                </c:pt>
                <c:pt idx="23">
                  <c:v>15.205035788010344</c:v>
                </c:pt>
                <c:pt idx="24">
                  <c:v>15.87915067516351</c:v>
                </c:pt>
                <c:pt idx="25">
                  <c:v>16.703068870572938</c:v>
                </c:pt>
                <c:pt idx="26">
                  <c:v>17.152478795341715</c:v>
                </c:pt>
                <c:pt idx="27">
                  <c:v>19.624233381570001</c:v>
                </c:pt>
                <c:pt idx="28">
                  <c:v>21.571676388901373</c:v>
                </c:pt>
                <c:pt idx="29">
                  <c:v>24.717545862282822</c:v>
                </c:pt>
                <c:pt idx="30">
                  <c:v>26.964595486126715</c:v>
                </c:pt>
                <c:pt idx="31">
                  <c:v>27.938316989792405</c:v>
                </c:pt>
                <c:pt idx="32">
                  <c:v>29.436350072354998</c:v>
                </c:pt>
                <c:pt idx="33">
                  <c:v>32.28261292922393</c:v>
                </c:pt>
                <c:pt idx="34">
                  <c:v>31.08418646317385</c:v>
                </c:pt>
                <c:pt idx="35">
                  <c:v>30.260268267764424</c:v>
                </c:pt>
                <c:pt idx="36">
                  <c:v>32.73202285399271</c:v>
                </c:pt>
                <c:pt idx="37">
                  <c:v>34.080252628299043</c:v>
                </c:pt>
                <c:pt idx="38">
                  <c:v>36.626908868655455</c:v>
                </c:pt>
                <c:pt idx="39">
                  <c:v>35.877892327374155</c:v>
                </c:pt>
                <c:pt idx="40">
                  <c:v>35.952793981502289</c:v>
                </c:pt>
                <c:pt idx="41">
                  <c:v>37.675532026449268</c:v>
                </c:pt>
                <c:pt idx="42">
                  <c:v>42.693942853033967</c:v>
                </c:pt>
                <c:pt idx="43">
                  <c:v>41.495516386983894</c:v>
                </c:pt>
                <c:pt idx="44">
                  <c:v>41.420614732855761</c:v>
                </c:pt>
                <c:pt idx="45">
                  <c:v>41.121008116343241</c:v>
                </c:pt>
                <c:pt idx="46">
                  <c:v>43.742566010827787</c:v>
                </c:pt>
                <c:pt idx="47">
                  <c:v>42.693942853033967</c:v>
                </c:pt>
                <c:pt idx="48">
                  <c:v>42.469237890649573</c:v>
                </c:pt>
                <c:pt idx="49">
                  <c:v>41.495516386983894</c:v>
                </c:pt>
                <c:pt idx="50">
                  <c:v>39.922581650293161</c:v>
                </c:pt>
                <c:pt idx="51">
                  <c:v>38.349646913602442</c:v>
                </c:pt>
                <c:pt idx="52">
                  <c:v>36.027695635630415</c:v>
                </c:pt>
                <c:pt idx="53">
                  <c:v>33.406137741145876</c:v>
                </c:pt>
                <c:pt idx="54">
                  <c:v>31.75830135032702</c:v>
                </c:pt>
                <c:pt idx="55">
                  <c:v>30.784579846661337</c:v>
                </c:pt>
                <c:pt idx="56">
                  <c:v>27.938316989792405</c:v>
                </c:pt>
                <c:pt idx="57">
                  <c:v>26.814792177870459</c:v>
                </c:pt>
                <c:pt idx="58">
                  <c:v>24.867349170539079</c:v>
                </c:pt>
                <c:pt idx="59">
                  <c:v>22.62029954669519</c:v>
                </c:pt>
                <c:pt idx="60">
                  <c:v>22.09598796779828</c:v>
                </c:pt>
                <c:pt idx="61">
                  <c:v>21.571676388901373</c:v>
                </c:pt>
                <c:pt idx="62">
                  <c:v>20.597954885235687</c:v>
                </c:pt>
                <c:pt idx="63">
                  <c:v>20.822659847620073</c:v>
                </c:pt>
                <c:pt idx="64">
                  <c:v>20.747758193491947</c:v>
                </c:pt>
                <c:pt idx="65">
                  <c:v>20.448151576979427</c:v>
                </c:pt>
                <c:pt idx="66">
                  <c:v>21.496774734773243</c:v>
                </c:pt>
                <c:pt idx="67">
                  <c:v>22.84500450907958</c:v>
                </c:pt>
                <c:pt idx="68">
                  <c:v>23.444217742104616</c:v>
                </c:pt>
                <c:pt idx="69">
                  <c:v>23.1446111255921</c:v>
                </c:pt>
                <c:pt idx="70">
                  <c:v>24.867349170539079</c:v>
                </c:pt>
                <c:pt idx="71">
                  <c:v>25.316759095307862</c:v>
                </c:pt>
                <c:pt idx="72">
                  <c:v>26.964595486126715</c:v>
                </c:pt>
                <c:pt idx="73">
                  <c:v>29.735956688867518</c:v>
                </c:pt>
                <c:pt idx="74">
                  <c:v>28.762235185201831</c:v>
                </c:pt>
                <c:pt idx="75">
                  <c:v>28.537530222817438</c:v>
                </c:pt>
                <c:pt idx="76">
                  <c:v>30.634776538405074</c:v>
                </c:pt>
                <c:pt idx="77">
                  <c:v>28.837136839329958</c:v>
                </c:pt>
                <c:pt idx="78">
                  <c:v>28.762235185201831</c:v>
                </c:pt>
                <c:pt idx="79">
                  <c:v>28.687333531073701</c:v>
                </c:pt>
                <c:pt idx="80">
                  <c:v>27.713612027408011</c:v>
                </c:pt>
                <c:pt idx="81">
                  <c:v>28.088120298048661</c:v>
                </c:pt>
                <c:pt idx="82">
                  <c:v>29.211645109970608</c:v>
                </c:pt>
                <c:pt idx="83">
                  <c:v>28.013218643920531</c:v>
                </c:pt>
                <c:pt idx="84">
                  <c:v>28.837136839329958</c:v>
                </c:pt>
                <c:pt idx="85">
                  <c:v>30.484973230148817</c:v>
                </c:pt>
                <c:pt idx="86">
                  <c:v>31.08418646317385</c:v>
                </c:pt>
                <c:pt idx="87">
                  <c:v>29.586153380611258</c:v>
                </c:pt>
                <c:pt idx="88">
                  <c:v>29.136743455842478</c:v>
                </c:pt>
                <c:pt idx="89">
                  <c:v>27.713612027408011</c:v>
                </c:pt>
                <c:pt idx="90">
                  <c:v>28.312825260433051</c:v>
                </c:pt>
                <c:pt idx="91">
                  <c:v>27.713612027408011</c:v>
                </c:pt>
                <c:pt idx="92">
                  <c:v>25.990873982461032</c:v>
                </c:pt>
                <c:pt idx="93">
                  <c:v>25.616365711820382</c:v>
                </c:pt>
                <c:pt idx="94">
                  <c:v>26.590087215486065</c:v>
                </c:pt>
                <c:pt idx="95">
                  <c:v>26.964595486126715</c:v>
                </c:pt>
                <c:pt idx="96">
                  <c:v>27.339103756767365</c:v>
                </c:pt>
                <c:pt idx="97">
                  <c:v>29.960661651251904</c:v>
                </c:pt>
                <c:pt idx="98">
                  <c:v>35.952793981502289</c:v>
                </c:pt>
                <c:pt idx="99">
                  <c:v>37.450827064064882</c:v>
                </c:pt>
                <c:pt idx="100">
                  <c:v>39.772778342036908</c:v>
                </c:pt>
                <c:pt idx="101">
                  <c:v>40.596696537446334</c:v>
                </c:pt>
                <c:pt idx="102">
                  <c:v>41.046106462215107</c:v>
                </c:pt>
                <c:pt idx="103">
                  <c:v>41.570418041112021</c:v>
                </c:pt>
                <c:pt idx="104">
                  <c:v>41.645319695240147</c:v>
                </c:pt>
                <c:pt idx="105">
                  <c:v>39.772778342036908</c:v>
                </c:pt>
                <c:pt idx="106">
                  <c:v>42.993549469546487</c:v>
                </c:pt>
                <c:pt idx="107">
                  <c:v>45.465304055774766</c:v>
                </c:pt>
                <c:pt idx="108">
                  <c:v>45.615107364031026</c:v>
                </c:pt>
                <c:pt idx="109">
                  <c:v>46.738632175952972</c:v>
                </c:pt>
                <c:pt idx="110">
                  <c:v>48.011960296131178</c:v>
                </c:pt>
                <c:pt idx="111">
                  <c:v>49.135485108053132</c:v>
                </c:pt>
                <c:pt idx="112">
                  <c:v>49.360190070437511</c:v>
                </c:pt>
                <c:pt idx="113">
                  <c:v>49.435091724565645</c:v>
                </c:pt>
                <c:pt idx="114">
                  <c:v>48.461370220899958</c:v>
                </c:pt>
                <c:pt idx="115">
                  <c:v>50.483714882359457</c:v>
                </c:pt>
                <c:pt idx="116">
                  <c:v>51.607239694281411</c:v>
                </c:pt>
                <c:pt idx="117">
                  <c:v>52.281354581434577</c:v>
                </c:pt>
                <c:pt idx="118">
                  <c:v>52.281354581434577</c:v>
                </c:pt>
                <c:pt idx="119">
                  <c:v>49.360190070437511</c:v>
                </c:pt>
                <c:pt idx="120">
                  <c:v>52.506059543818971</c:v>
                </c:pt>
                <c:pt idx="121">
                  <c:v>54.902912475919116</c:v>
                </c:pt>
                <c:pt idx="122">
                  <c:v>57.973880295172442</c:v>
                </c:pt>
                <c:pt idx="123">
                  <c:v>60.220929919016335</c:v>
                </c:pt>
                <c:pt idx="124">
                  <c:v>60.520536535528848</c:v>
                </c:pt>
                <c:pt idx="125">
                  <c:v>62.318176234603968</c:v>
                </c:pt>
                <c:pt idx="126">
                  <c:v>68.984423452007519</c:v>
                </c:pt>
                <c:pt idx="127">
                  <c:v>67.636193677701172</c:v>
                </c:pt>
                <c:pt idx="128">
                  <c:v>68.834620143751252</c:v>
                </c:pt>
                <c:pt idx="129">
                  <c:v>71.980489617132704</c:v>
                </c:pt>
                <c:pt idx="130">
                  <c:v>73.178916083182784</c:v>
                </c:pt>
                <c:pt idx="131">
                  <c:v>73.178916083182784</c:v>
                </c:pt>
                <c:pt idx="132">
                  <c:v>79.171048413433169</c:v>
                </c:pt>
                <c:pt idx="133">
                  <c:v>79.770261646458209</c:v>
                </c:pt>
                <c:pt idx="134">
                  <c:v>86.511410517989887</c:v>
                </c:pt>
                <c:pt idx="135">
                  <c:v>89.95688660788386</c:v>
                </c:pt>
                <c:pt idx="136">
                  <c:v>93.102756081265298</c:v>
                </c:pt>
                <c:pt idx="137">
                  <c:v>98.196068561978123</c:v>
                </c:pt>
                <c:pt idx="138">
                  <c:v>104.48780750874101</c:v>
                </c:pt>
                <c:pt idx="139">
                  <c:v>116.39717051511364</c:v>
                </c:pt>
                <c:pt idx="140">
                  <c:v>133.17514103981472</c:v>
                </c:pt>
                <c:pt idx="141">
                  <c:v>153.39858765440977</c:v>
                </c:pt>
                <c:pt idx="142">
                  <c:v>179.68906825338331</c:v>
                </c:pt>
                <c:pt idx="143">
                  <c:v>203.73249922851295</c:v>
                </c:pt>
                <c:pt idx="144">
                  <c:v>226.72730704584882</c:v>
                </c:pt>
                <c:pt idx="145">
                  <c:v>239.46058824763088</c:v>
                </c:pt>
                <c:pt idx="146">
                  <c:v>256.01385380994753</c:v>
                </c:pt>
                <c:pt idx="147">
                  <c:v>295.187418918959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397-4169-846F-DF9410986C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C$122:$C$274</c:f>
              <c:numCache>
                <c:formatCode>General</c:formatCode>
                <c:ptCount val="15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397-4169-846F-DF9410986C0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1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D$122:$D$274</c:f>
              <c:numCache>
                <c:formatCode>General</c:formatCode>
                <c:ptCount val="153"/>
                <c:pt idx="122">
                  <c:v>55.577027363072283</c:v>
                </c:pt>
                <c:pt idx="123">
                  <c:v>57.674273678659915</c:v>
                </c:pt>
                <c:pt idx="124">
                  <c:v>59.921323302503808</c:v>
                </c:pt>
                <c:pt idx="125">
                  <c:v>62.168372926347701</c:v>
                </c:pt>
                <c:pt idx="126">
                  <c:v>64.490324204319734</c:v>
                </c:pt>
                <c:pt idx="127">
                  <c:v>66.887177136419879</c:v>
                </c:pt>
                <c:pt idx="128">
                  <c:v>69.508735030904418</c:v>
                </c:pt>
                <c:pt idx="129">
                  <c:v>72.130292925388957</c:v>
                </c:pt>
                <c:pt idx="130">
                  <c:v>74.826752474001637</c:v>
                </c:pt>
                <c:pt idx="131">
                  <c:v>77.598113676742429</c:v>
                </c:pt>
                <c:pt idx="132">
                  <c:v>80.519278187739502</c:v>
                </c:pt>
                <c:pt idx="133">
                  <c:v>83.515344352864687</c:v>
                </c:pt>
                <c:pt idx="134">
                  <c:v>86.66121382624614</c:v>
                </c:pt>
                <c:pt idx="135">
                  <c:v>89.881984953755719</c:v>
                </c:pt>
                <c:pt idx="136">
                  <c:v>93.252559389521551</c:v>
                </c:pt>
                <c:pt idx="137">
                  <c:v>96.698035479415537</c:v>
                </c:pt>
                <c:pt idx="138">
                  <c:v>100.21841322343762</c:v>
                </c:pt>
                <c:pt idx="139">
                  <c:v>103.88859427571599</c:v>
                </c:pt>
                <c:pt idx="140">
                  <c:v>107.70857863625061</c:v>
                </c:pt>
                <c:pt idx="141">
                  <c:v>111.60346465091335</c:v>
                </c:pt>
                <c:pt idx="142">
                  <c:v>115.64815397383235</c:v>
                </c:pt>
                <c:pt idx="143">
                  <c:v>119.84264660500762</c:v>
                </c:pt>
                <c:pt idx="144">
                  <c:v>124.18694254443916</c:v>
                </c:pt>
                <c:pt idx="145">
                  <c:v>128.68104179212693</c:v>
                </c:pt>
                <c:pt idx="146">
                  <c:v>133.32494434807097</c:v>
                </c:pt>
                <c:pt idx="147">
                  <c:v>138.11865021227129</c:v>
                </c:pt>
                <c:pt idx="148">
                  <c:v>143.13706103885596</c:v>
                </c:pt>
                <c:pt idx="149">
                  <c:v>148.23037351956881</c:v>
                </c:pt>
                <c:pt idx="150">
                  <c:v>153.47348930853789</c:v>
                </c:pt>
                <c:pt idx="151">
                  <c:v>158.94131005989135</c:v>
                </c:pt>
                <c:pt idx="152">
                  <c:v>164.633835773629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397-4169-846F-DF9410986C0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E$122:$E$274</c:f>
              <c:numCache>
                <c:formatCode>General</c:formatCode>
                <c:ptCount val="153"/>
                <c:pt idx="122">
                  <c:v>55.87663397958481</c:v>
                </c:pt>
                <c:pt idx="123">
                  <c:v>58.498191874069349</c:v>
                </c:pt>
                <c:pt idx="124">
                  <c:v>61.344454730938281</c:v>
                </c:pt>
                <c:pt idx="125">
                  <c:v>64.340520896063467</c:v>
                </c:pt>
                <c:pt idx="126">
                  <c:v>67.561292023573046</c:v>
                </c:pt>
                <c:pt idx="127">
                  <c:v>71.081669767595145</c:v>
                </c:pt>
                <c:pt idx="128">
                  <c:v>75.051457436386031</c:v>
                </c:pt>
                <c:pt idx="129">
                  <c:v>79.021245105176902</c:v>
                </c:pt>
                <c:pt idx="130">
                  <c:v>83.065934428095915</c:v>
                </c:pt>
                <c:pt idx="131">
                  <c:v>87.335328713399306</c:v>
                </c:pt>
                <c:pt idx="132">
                  <c:v>91.904329615215218</c:v>
                </c:pt>
                <c:pt idx="133">
                  <c:v>96.77293713354365</c:v>
                </c:pt>
                <c:pt idx="134">
                  <c:v>101.86624961425647</c:v>
                </c:pt>
                <c:pt idx="135">
                  <c:v>107.18426705735369</c:v>
                </c:pt>
                <c:pt idx="136">
                  <c:v>112.72698946283529</c:v>
                </c:pt>
                <c:pt idx="137">
                  <c:v>118.4944168307013</c:v>
                </c:pt>
                <c:pt idx="138">
                  <c:v>124.63635246920794</c:v>
                </c:pt>
                <c:pt idx="139">
                  <c:v>131.07789472422709</c:v>
                </c:pt>
                <c:pt idx="140">
                  <c:v>137.81904359575879</c:v>
                </c:pt>
                <c:pt idx="141">
                  <c:v>144.85979908380298</c:v>
                </c:pt>
                <c:pt idx="142">
                  <c:v>152.20016118835969</c:v>
                </c:pt>
                <c:pt idx="143">
                  <c:v>159.91503156355705</c:v>
                </c:pt>
                <c:pt idx="144">
                  <c:v>168.0793118635232</c:v>
                </c:pt>
                <c:pt idx="145">
                  <c:v>176.61810043412999</c:v>
                </c:pt>
                <c:pt idx="146">
                  <c:v>185.53139727537743</c:v>
                </c:pt>
                <c:pt idx="147">
                  <c:v>194.89410404139366</c:v>
                </c:pt>
                <c:pt idx="148">
                  <c:v>204.78112238630681</c:v>
                </c:pt>
                <c:pt idx="149">
                  <c:v>215.11755065598868</c:v>
                </c:pt>
                <c:pt idx="150">
                  <c:v>225.97829050456752</c:v>
                </c:pt>
                <c:pt idx="151">
                  <c:v>237.3633419320432</c:v>
                </c:pt>
                <c:pt idx="152">
                  <c:v>249.272704938415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397-4169-846F-DF9410986C03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F$122:$F$274</c:f>
              <c:numCache>
                <c:formatCode>General</c:formatCode>
                <c:ptCount val="153"/>
                <c:pt idx="122">
                  <c:v>56.251142250225456</c:v>
                </c:pt>
                <c:pt idx="123">
                  <c:v>59.397011723606902</c:v>
                </c:pt>
                <c:pt idx="124">
                  <c:v>62.917389467629</c:v>
                </c:pt>
                <c:pt idx="125">
                  <c:v>66.662472174035486</c:v>
                </c:pt>
                <c:pt idx="126">
                  <c:v>70.782063151082639</c:v>
                </c:pt>
                <c:pt idx="127">
                  <c:v>75.500867361154803</c:v>
                </c:pt>
                <c:pt idx="128">
                  <c:v>80.893786458380148</c:v>
                </c:pt>
                <c:pt idx="129">
                  <c:v>86.286705555605494</c:v>
                </c:pt>
                <c:pt idx="130">
                  <c:v>91.829427961087092</c:v>
                </c:pt>
                <c:pt idx="131">
                  <c:v>97.746658637209336</c:v>
                </c:pt>
                <c:pt idx="132">
                  <c:v>104.18820089222851</c:v>
                </c:pt>
                <c:pt idx="133">
                  <c:v>111.22895638027269</c:v>
                </c:pt>
                <c:pt idx="134">
                  <c:v>118.64422013895754</c:v>
                </c:pt>
                <c:pt idx="135">
                  <c:v>126.50889382241118</c:v>
                </c:pt>
                <c:pt idx="136">
                  <c:v>134.67317412237733</c:v>
                </c:pt>
                <c:pt idx="137">
                  <c:v>143.43666765536852</c:v>
                </c:pt>
                <c:pt idx="138">
                  <c:v>152.79937442138473</c:v>
                </c:pt>
                <c:pt idx="139">
                  <c:v>162.83619607455412</c:v>
                </c:pt>
                <c:pt idx="140">
                  <c:v>173.47223096074853</c:v>
                </c:pt>
                <c:pt idx="141">
                  <c:v>184.78238073409614</c:v>
                </c:pt>
                <c:pt idx="142">
                  <c:v>196.76664539459688</c:v>
                </c:pt>
                <c:pt idx="143">
                  <c:v>209.49992659637894</c:v>
                </c:pt>
                <c:pt idx="144">
                  <c:v>223.05712599357042</c:v>
                </c:pt>
                <c:pt idx="145">
                  <c:v>237.58804689442761</c:v>
                </c:pt>
                <c:pt idx="146">
                  <c:v>253.01778764482236</c:v>
                </c:pt>
                <c:pt idx="147">
                  <c:v>269.34634824475467</c:v>
                </c:pt>
                <c:pt idx="148">
                  <c:v>286.64863034835264</c:v>
                </c:pt>
                <c:pt idx="149">
                  <c:v>305.07443726387254</c:v>
                </c:pt>
                <c:pt idx="150">
                  <c:v>324.77357229957067</c:v>
                </c:pt>
                <c:pt idx="151">
                  <c:v>345.74603545544699</c:v>
                </c:pt>
                <c:pt idx="152">
                  <c:v>367.916925077373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397-4169-846F-DF9410986C03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4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G$122:$G$274</c:f>
              <c:numCache>
                <c:formatCode>General</c:formatCode>
                <c:ptCount val="153"/>
                <c:pt idx="122">
                  <c:v>56.251142250225456</c:v>
                </c:pt>
                <c:pt idx="123">
                  <c:v>59.397011723606902</c:v>
                </c:pt>
                <c:pt idx="124">
                  <c:v>62.917389467629</c:v>
                </c:pt>
                <c:pt idx="125">
                  <c:v>66.662472174035486</c:v>
                </c:pt>
                <c:pt idx="126">
                  <c:v>70.782063151082639</c:v>
                </c:pt>
                <c:pt idx="127">
                  <c:v>75.500867361154803</c:v>
                </c:pt>
                <c:pt idx="128">
                  <c:v>80.893786458380148</c:v>
                </c:pt>
                <c:pt idx="129">
                  <c:v>86.286705555605494</c:v>
                </c:pt>
                <c:pt idx="130">
                  <c:v>91.829427961087092</c:v>
                </c:pt>
                <c:pt idx="131">
                  <c:v>97.746658637209336</c:v>
                </c:pt>
                <c:pt idx="132">
                  <c:v>104.18820089222851</c:v>
                </c:pt>
                <c:pt idx="133">
                  <c:v>112.42738284632277</c:v>
                </c:pt>
                <c:pt idx="134">
                  <c:v>121.93989292059527</c:v>
                </c:pt>
                <c:pt idx="135">
                  <c:v>132.42612449853343</c:v>
                </c:pt>
                <c:pt idx="136">
                  <c:v>143.58647096362475</c:v>
                </c:pt>
                <c:pt idx="137">
                  <c:v>156.16994885715056</c:v>
                </c:pt>
                <c:pt idx="138">
                  <c:v>170.47616479562336</c:v>
                </c:pt>
                <c:pt idx="139">
                  <c:v>186.80472539555564</c:v>
                </c:pt>
                <c:pt idx="140">
                  <c:v>203.95720419089736</c:v>
                </c:pt>
                <c:pt idx="141">
                  <c:v>222.23320779816103</c:v>
                </c:pt>
                <c:pt idx="142">
                  <c:v>242.08214614211539</c:v>
                </c:pt>
                <c:pt idx="143">
                  <c:v>264.17813410991369</c:v>
                </c:pt>
                <c:pt idx="144">
                  <c:v>288.44627004742773</c:v>
                </c:pt>
                <c:pt idx="145">
                  <c:v>314.96145560878563</c:v>
                </c:pt>
                <c:pt idx="146">
                  <c:v>343.64878913985939</c:v>
                </c:pt>
                <c:pt idx="147">
                  <c:v>374.6580739489051</c:v>
                </c:pt>
                <c:pt idx="148">
                  <c:v>408.43871996069163</c:v>
                </c:pt>
                <c:pt idx="149">
                  <c:v>445.51503875411584</c:v>
                </c:pt>
                <c:pt idx="150">
                  <c:v>486.11173529156218</c:v>
                </c:pt>
                <c:pt idx="151">
                  <c:v>530.30371122715871</c:v>
                </c:pt>
                <c:pt idx="152">
                  <c:v>578.315671523289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A397-4169-846F-DF9410986C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4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B$244:$B$427</c:f>
              <c:numCache>
                <c:formatCode>0</c:formatCode>
                <c:ptCount val="184"/>
                <c:pt idx="0">
                  <c:v>112</c:v>
                </c:pt>
                <c:pt idx="1">
                  <c:v>64</c:v>
                </c:pt>
                <c:pt idx="2">
                  <c:v>283</c:v>
                </c:pt>
                <c:pt idx="3">
                  <c:v>275</c:v>
                </c:pt>
                <c:pt idx="4">
                  <c:v>156</c:v>
                </c:pt>
                <c:pt idx="5">
                  <c:v>169</c:v>
                </c:pt>
                <c:pt idx="6">
                  <c:v>165</c:v>
                </c:pt>
                <c:pt idx="7">
                  <c:v>90</c:v>
                </c:pt>
                <c:pt idx="8">
                  <c:v>33</c:v>
                </c:pt>
                <c:pt idx="9">
                  <c:v>119</c:v>
                </c:pt>
                <c:pt idx="10">
                  <c:v>195</c:v>
                </c:pt>
                <c:pt idx="11">
                  <c:v>128</c:v>
                </c:pt>
                <c:pt idx="12">
                  <c:v>142</c:v>
                </c:pt>
                <c:pt idx="13">
                  <c:v>125</c:v>
                </c:pt>
                <c:pt idx="14">
                  <c:v>66</c:v>
                </c:pt>
                <c:pt idx="15">
                  <c:v>20</c:v>
                </c:pt>
                <c:pt idx="16">
                  <c:v>124</c:v>
                </c:pt>
                <c:pt idx="17">
                  <c:v>121</c:v>
                </c:pt>
                <c:pt idx="18">
                  <c:v>61</c:v>
                </c:pt>
                <c:pt idx="19">
                  <c:v>44</c:v>
                </c:pt>
                <c:pt idx="20">
                  <c:v>68</c:v>
                </c:pt>
                <c:pt idx="21">
                  <c:v>22</c:v>
                </c:pt>
                <c:pt idx="22">
                  <c:v>12</c:v>
                </c:pt>
                <c:pt idx="23">
                  <c:v>79</c:v>
                </c:pt>
                <c:pt idx="24">
                  <c:v>48</c:v>
                </c:pt>
                <c:pt idx="25">
                  <c:v>48</c:v>
                </c:pt>
                <c:pt idx="26">
                  <c:v>49</c:v>
                </c:pt>
                <c:pt idx="27">
                  <c:v>44</c:v>
                </c:pt>
                <c:pt idx="28">
                  <c:v>26</c:v>
                </c:pt>
                <c:pt idx="29">
                  <c:v>13</c:v>
                </c:pt>
                <c:pt idx="30">
                  <c:v>70</c:v>
                </c:pt>
                <c:pt idx="31">
                  <c:v>44</c:v>
                </c:pt>
                <c:pt idx="32">
                  <c:v>41</c:v>
                </c:pt>
                <c:pt idx="33">
                  <c:v>39</c:v>
                </c:pt>
                <c:pt idx="34">
                  <c:v>18</c:v>
                </c:pt>
                <c:pt idx="35">
                  <c:v>17</c:v>
                </c:pt>
                <c:pt idx="36">
                  <c:v>25</c:v>
                </c:pt>
                <c:pt idx="37">
                  <c:v>36</c:v>
                </c:pt>
                <c:pt idx="38">
                  <c:v>46</c:v>
                </c:pt>
                <c:pt idx="39">
                  <c:v>28</c:v>
                </c:pt>
                <c:pt idx="40">
                  <c:v>17</c:v>
                </c:pt>
                <c:pt idx="41">
                  <c:v>14</c:v>
                </c:pt>
                <c:pt idx="42">
                  <c:v>7</c:v>
                </c:pt>
                <c:pt idx="43">
                  <c:v>8</c:v>
                </c:pt>
                <c:pt idx="44">
                  <c:v>26</c:v>
                </c:pt>
                <c:pt idx="45">
                  <c:v>28</c:v>
                </c:pt>
                <c:pt idx="46">
                  <c:v>18</c:v>
                </c:pt>
                <c:pt idx="47">
                  <c:v>25</c:v>
                </c:pt>
                <c:pt idx="48">
                  <c:v>20</c:v>
                </c:pt>
                <c:pt idx="49">
                  <c:v>7</c:v>
                </c:pt>
                <c:pt idx="50">
                  <c:v>11</c:v>
                </c:pt>
                <c:pt idx="51">
                  <c:v>14</c:v>
                </c:pt>
                <c:pt idx="52">
                  <c:v>15</c:v>
                </c:pt>
                <c:pt idx="53">
                  <c:v>13</c:v>
                </c:pt>
                <c:pt idx="54">
                  <c:v>22</c:v>
                </c:pt>
                <c:pt idx="55">
                  <c:v>35</c:v>
                </c:pt>
                <c:pt idx="56">
                  <c:v>9</c:v>
                </c:pt>
                <c:pt idx="57">
                  <c:v>6</c:v>
                </c:pt>
                <c:pt idx="58">
                  <c:v>18</c:v>
                </c:pt>
                <c:pt idx="59">
                  <c:v>23</c:v>
                </c:pt>
                <c:pt idx="60">
                  <c:v>24</c:v>
                </c:pt>
                <c:pt idx="61">
                  <c:v>27</c:v>
                </c:pt>
                <c:pt idx="62">
                  <c:v>24</c:v>
                </c:pt>
                <c:pt idx="63">
                  <c:v>20</c:v>
                </c:pt>
                <c:pt idx="64">
                  <c:v>22</c:v>
                </c:pt>
                <c:pt idx="65">
                  <c:v>25</c:v>
                </c:pt>
                <c:pt idx="66">
                  <c:v>27</c:v>
                </c:pt>
                <c:pt idx="67">
                  <c:v>45</c:v>
                </c:pt>
                <c:pt idx="68">
                  <c:v>37</c:v>
                </c:pt>
                <c:pt idx="69">
                  <c:v>46</c:v>
                </c:pt>
                <c:pt idx="70">
                  <c:v>38</c:v>
                </c:pt>
                <c:pt idx="71">
                  <c:v>31</c:v>
                </c:pt>
                <c:pt idx="72">
                  <c:v>44</c:v>
                </c:pt>
                <c:pt idx="73">
                  <c:v>46</c:v>
                </c:pt>
                <c:pt idx="74">
                  <c:v>53</c:v>
                </c:pt>
                <c:pt idx="75">
                  <c:v>38</c:v>
                </c:pt>
                <c:pt idx="76">
                  <c:v>48</c:v>
                </c:pt>
                <c:pt idx="77">
                  <c:v>33</c:v>
                </c:pt>
                <c:pt idx="78">
                  <c:v>20</c:v>
                </c:pt>
                <c:pt idx="79">
                  <c:v>38</c:v>
                </c:pt>
                <c:pt idx="80">
                  <c:v>63</c:v>
                </c:pt>
                <c:pt idx="81">
                  <c:v>31</c:v>
                </c:pt>
                <c:pt idx="82">
                  <c:v>29</c:v>
                </c:pt>
                <c:pt idx="83">
                  <c:v>34</c:v>
                </c:pt>
                <c:pt idx="84">
                  <c:v>30</c:v>
                </c:pt>
                <c:pt idx="85">
                  <c:v>9</c:v>
                </c:pt>
                <c:pt idx="86">
                  <c:v>38</c:v>
                </c:pt>
                <c:pt idx="87">
                  <c:v>29</c:v>
                </c:pt>
                <c:pt idx="88">
                  <c:v>29</c:v>
                </c:pt>
                <c:pt idx="89">
                  <c:v>35</c:v>
                </c:pt>
                <c:pt idx="90">
                  <c:v>17</c:v>
                </c:pt>
                <c:pt idx="91">
                  <c:v>25</c:v>
                </c:pt>
                <c:pt idx="92">
                  <c:v>10</c:v>
                </c:pt>
                <c:pt idx="93">
                  <c:v>25</c:v>
                </c:pt>
                <c:pt idx="94">
                  <c:v>42</c:v>
                </c:pt>
                <c:pt idx="95">
                  <c:v>26</c:v>
                </c:pt>
                <c:pt idx="96">
                  <c:v>22</c:v>
                </c:pt>
                <c:pt idx="97">
                  <c:v>23</c:v>
                </c:pt>
                <c:pt idx="98">
                  <c:v>29</c:v>
                </c:pt>
                <c:pt idx="99">
                  <c:v>20</c:v>
                </c:pt>
                <c:pt idx="100">
                  <c:v>18</c:v>
                </c:pt>
                <c:pt idx="101">
                  <c:v>39</c:v>
                </c:pt>
                <c:pt idx="102">
                  <c:v>43</c:v>
                </c:pt>
                <c:pt idx="103">
                  <c:v>30</c:v>
                </c:pt>
                <c:pt idx="104">
                  <c:v>35</c:v>
                </c:pt>
                <c:pt idx="105">
                  <c:v>24</c:v>
                </c:pt>
                <c:pt idx="106">
                  <c:v>10</c:v>
                </c:pt>
                <c:pt idx="107">
                  <c:v>18</c:v>
                </c:pt>
                <c:pt idx="108">
                  <c:v>40</c:v>
                </c:pt>
                <c:pt idx="109">
                  <c:v>38</c:v>
                </c:pt>
                <c:pt idx="110">
                  <c:v>23</c:v>
                </c:pt>
                <c:pt idx="111">
                  <c:v>28</c:v>
                </c:pt>
                <c:pt idx="112">
                  <c:v>20</c:v>
                </c:pt>
                <c:pt idx="113">
                  <c:v>25</c:v>
                </c:pt>
                <c:pt idx="114">
                  <c:v>44</c:v>
                </c:pt>
                <c:pt idx="115">
                  <c:v>36</c:v>
                </c:pt>
                <c:pt idx="116">
                  <c:v>31</c:v>
                </c:pt>
                <c:pt idx="117">
                  <c:v>42</c:v>
                </c:pt>
                <c:pt idx="118">
                  <c:v>33</c:v>
                </c:pt>
                <c:pt idx="119">
                  <c:v>26</c:v>
                </c:pt>
                <c:pt idx="120">
                  <c:v>20</c:v>
                </c:pt>
                <c:pt idx="121">
                  <c:v>40</c:v>
                </c:pt>
                <c:pt idx="122">
                  <c:v>26</c:v>
                </c:pt>
                <c:pt idx="123">
                  <c:v>35</c:v>
                </c:pt>
                <c:pt idx="124">
                  <c:v>45</c:v>
                </c:pt>
                <c:pt idx="125">
                  <c:v>41</c:v>
                </c:pt>
                <c:pt idx="126">
                  <c:v>29</c:v>
                </c:pt>
                <c:pt idx="127">
                  <c:v>18</c:v>
                </c:pt>
                <c:pt idx="128">
                  <c:v>44</c:v>
                </c:pt>
                <c:pt idx="129">
                  <c:v>101</c:v>
                </c:pt>
                <c:pt idx="130">
                  <c:v>40</c:v>
                </c:pt>
                <c:pt idx="131">
                  <c:v>55</c:v>
                </c:pt>
                <c:pt idx="132">
                  <c:v>68</c:v>
                </c:pt>
                <c:pt idx="133">
                  <c:v>34</c:v>
                </c:pt>
                <c:pt idx="134">
                  <c:v>20</c:v>
                </c:pt>
                <c:pt idx="135">
                  <c:v>76</c:v>
                </c:pt>
                <c:pt idx="136">
                  <c:v>72</c:v>
                </c:pt>
                <c:pt idx="137">
                  <c:v>70</c:v>
                </c:pt>
                <c:pt idx="138">
                  <c:v>83</c:v>
                </c:pt>
                <c:pt idx="139">
                  <c:v>58</c:v>
                </c:pt>
                <c:pt idx="140">
                  <c:v>47</c:v>
                </c:pt>
                <c:pt idx="141">
                  <c:v>21</c:v>
                </c:pt>
                <c:pt idx="142">
                  <c:v>75</c:v>
                </c:pt>
                <c:pt idx="143">
                  <c:v>84</c:v>
                </c:pt>
                <c:pt idx="144">
                  <c:v>87</c:v>
                </c:pt>
                <c:pt idx="145">
                  <c:v>73</c:v>
                </c:pt>
                <c:pt idx="146">
                  <c:v>86</c:v>
                </c:pt>
                <c:pt idx="147">
                  <c:v>54</c:v>
                </c:pt>
                <c:pt idx="148">
                  <c:v>43</c:v>
                </c:pt>
                <c:pt idx="149">
                  <c:v>96</c:v>
                </c:pt>
                <c:pt idx="150">
                  <c:v>82</c:v>
                </c:pt>
                <c:pt idx="151">
                  <c:v>92</c:v>
                </c:pt>
                <c:pt idx="152">
                  <c:v>136</c:v>
                </c:pt>
                <c:pt idx="153">
                  <c:v>126</c:v>
                </c:pt>
                <c:pt idx="154">
                  <c:v>85</c:v>
                </c:pt>
                <c:pt idx="155">
                  <c:v>33</c:v>
                </c:pt>
                <c:pt idx="156">
                  <c:v>89</c:v>
                </c:pt>
                <c:pt idx="157">
                  <c:v>148</c:v>
                </c:pt>
                <c:pt idx="158">
                  <c:v>147</c:v>
                </c:pt>
                <c:pt idx="159">
                  <c:v>124</c:v>
                </c:pt>
                <c:pt idx="160">
                  <c:v>108</c:v>
                </c:pt>
                <c:pt idx="161">
                  <c:v>97</c:v>
                </c:pt>
                <c:pt idx="162">
                  <c:v>34</c:v>
                </c:pt>
                <c:pt idx="163">
                  <c:v>145</c:v>
                </c:pt>
                <c:pt idx="164">
                  <c:v>156</c:v>
                </c:pt>
                <c:pt idx="165">
                  <c:v>177</c:v>
                </c:pt>
                <c:pt idx="166">
                  <c:v>174</c:v>
                </c:pt>
                <c:pt idx="167">
                  <c:v>172</c:v>
                </c:pt>
                <c:pt idx="168">
                  <c:v>139</c:v>
                </c:pt>
                <c:pt idx="169">
                  <c:v>92</c:v>
                </c:pt>
                <c:pt idx="170">
                  <c:v>310</c:v>
                </c:pt>
                <c:pt idx="171">
                  <c:v>394</c:v>
                </c:pt>
                <c:pt idx="172">
                  <c:v>360</c:v>
                </c:pt>
                <c:pt idx="173">
                  <c:v>452</c:v>
                </c:pt>
                <c:pt idx="174">
                  <c:v>427</c:v>
                </c:pt>
                <c:pt idx="175">
                  <c:v>330</c:v>
                </c:pt>
                <c:pt idx="176">
                  <c:v>217</c:v>
                </c:pt>
                <c:pt idx="177">
                  <c:v>475</c:v>
                </c:pt>
                <c:pt idx="178">
                  <c:v>6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1A-4DA9-AEBB-75C7990459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C$244:$C$427</c:f>
              <c:numCache>
                <c:formatCode>General</c:formatCode>
                <c:ptCount val="18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61A-4DA9-AEBB-75C7990459F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D$244:$D$427</c:f>
              <c:numCache>
                <c:formatCode>General</c:formatCode>
                <c:ptCount val="184"/>
                <c:pt idx="73">
                  <c:v>0</c:v>
                </c:pt>
                <c:pt idx="153">
                  <c:v>118</c:v>
                </c:pt>
                <c:pt idx="154">
                  <c:v>123</c:v>
                </c:pt>
                <c:pt idx="155">
                  <c:v>128</c:v>
                </c:pt>
                <c:pt idx="156">
                  <c:v>133</c:v>
                </c:pt>
                <c:pt idx="157">
                  <c:v>137</c:v>
                </c:pt>
                <c:pt idx="158">
                  <c:v>143</c:v>
                </c:pt>
                <c:pt idx="159">
                  <c:v>148</c:v>
                </c:pt>
                <c:pt idx="160">
                  <c:v>154</c:v>
                </c:pt>
                <c:pt idx="161">
                  <c:v>159</c:v>
                </c:pt>
                <c:pt idx="162">
                  <c:v>165</c:v>
                </c:pt>
                <c:pt idx="163">
                  <c:v>171</c:v>
                </c:pt>
                <c:pt idx="164">
                  <c:v>178</c:v>
                </c:pt>
                <c:pt idx="165">
                  <c:v>184</c:v>
                </c:pt>
                <c:pt idx="166">
                  <c:v>191</c:v>
                </c:pt>
                <c:pt idx="167">
                  <c:v>198</c:v>
                </c:pt>
                <c:pt idx="168">
                  <c:v>205</c:v>
                </c:pt>
                <c:pt idx="169">
                  <c:v>213</c:v>
                </c:pt>
                <c:pt idx="170">
                  <c:v>221</c:v>
                </c:pt>
                <c:pt idx="171">
                  <c:v>229</c:v>
                </c:pt>
                <c:pt idx="172">
                  <c:v>237</c:v>
                </c:pt>
                <c:pt idx="173">
                  <c:v>245</c:v>
                </c:pt>
                <c:pt idx="174">
                  <c:v>254</c:v>
                </c:pt>
                <c:pt idx="175">
                  <c:v>263</c:v>
                </c:pt>
                <c:pt idx="176">
                  <c:v>273</c:v>
                </c:pt>
                <c:pt idx="177">
                  <c:v>283</c:v>
                </c:pt>
                <c:pt idx="178">
                  <c:v>293</c:v>
                </c:pt>
                <c:pt idx="179">
                  <c:v>303</c:v>
                </c:pt>
                <c:pt idx="180">
                  <c:v>314</c:v>
                </c:pt>
                <c:pt idx="181">
                  <c:v>325</c:v>
                </c:pt>
                <c:pt idx="182">
                  <c:v>337</c:v>
                </c:pt>
                <c:pt idx="183">
                  <c:v>3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61A-4DA9-AEBB-75C7990459F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E$244:$E$427</c:f>
              <c:numCache>
                <c:formatCode>General</c:formatCode>
                <c:ptCount val="184"/>
                <c:pt idx="153">
                  <c:v>123</c:v>
                </c:pt>
                <c:pt idx="154">
                  <c:v>130</c:v>
                </c:pt>
                <c:pt idx="155">
                  <c:v>137</c:v>
                </c:pt>
                <c:pt idx="156">
                  <c:v>142</c:v>
                </c:pt>
                <c:pt idx="157">
                  <c:v>149</c:v>
                </c:pt>
                <c:pt idx="158">
                  <c:v>157</c:v>
                </c:pt>
                <c:pt idx="159">
                  <c:v>166</c:v>
                </c:pt>
                <c:pt idx="160">
                  <c:v>176</c:v>
                </c:pt>
                <c:pt idx="161">
                  <c:v>185</c:v>
                </c:pt>
                <c:pt idx="162">
                  <c:v>194</c:v>
                </c:pt>
                <c:pt idx="163">
                  <c:v>203</c:v>
                </c:pt>
                <c:pt idx="164">
                  <c:v>214</c:v>
                </c:pt>
                <c:pt idx="165">
                  <c:v>226</c:v>
                </c:pt>
                <c:pt idx="166">
                  <c:v>237</c:v>
                </c:pt>
                <c:pt idx="167">
                  <c:v>249</c:v>
                </c:pt>
                <c:pt idx="168">
                  <c:v>262</c:v>
                </c:pt>
                <c:pt idx="169">
                  <c:v>275</c:v>
                </c:pt>
                <c:pt idx="170">
                  <c:v>290</c:v>
                </c:pt>
                <c:pt idx="171">
                  <c:v>304</c:v>
                </c:pt>
                <c:pt idx="172">
                  <c:v>320</c:v>
                </c:pt>
                <c:pt idx="173">
                  <c:v>336</c:v>
                </c:pt>
                <c:pt idx="174">
                  <c:v>353</c:v>
                </c:pt>
                <c:pt idx="175">
                  <c:v>371</c:v>
                </c:pt>
                <c:pt idx="176">
                  <c:v>390</c:v>
                </c:pt>
                <c:pt idx="177">
                  <c:v>409</c:v>
                </c:pt>
                <c:pt idx="178">
                  <c:v>430</c:v>
                </c:pt>
                <c:pt idx="179">
                  <c:v>452</c:v>
                </c:pt>
                <c:pt idx="180">
                  <c:v>474</c:v>
                </c:pt>
                <c:pt idx="181">
                  <c:v>498</c:v>
                </c:pt>
                <c:pt idx="182">
                  <c:v>523</c:v>
                </c:pt>
                <c:pt idx="183">
                  <c:v>5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61A-4DA9-AEBB-75C7990459F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F$244:$F$427</c:f>
              <c:numCache>
                <c:formatCode>General</c:formatCode>
                <c:ptCount val="184"/>
                <c:pt idx="153">
                  <c:v>127</c:v>
                </c:pt>
                <c:pt idx="154">
                  <c:v>137</c:v>
                </c:pt>
                <c:pt idx="155">
                  <c:v>145</c:v>
                </c:pt>
                <c:pt idx="156">
                  <c:v>152</c:v>
                </c:pt>
                <c:pt idx="157">
                  <c:v>162</c:v>
                </c:pt>
                <c:pt idx="158">
                  <c:v>173</c:v>
                </c:pt>
                <c:pt idx="159">
                  <c:v>186</c:v>
                </c:pt>
                <c:pt idx="160">
                  <c:v>200</c:v>
                </c:pt>
                <c:pt idx="161">
                  <c:v>212</c:v>
                </c:pt>
                <c:pt idx="162">
                  <c:v>224</c:v>
                </c:pt>
                <c:pt idx="163">
                  <c:v>239</c:v>
                </c:pt>
                <c:pt idx="164">
                  <c:v>255</c:v>
                </c:pt>
                <c:pt idx="165">
                  <c:v>273</c:v>
                </c:pt>
                <c:pt idx="166">
                  <c:v>291</c:v>
                </c:pt>
                <c:pt idx="167">
                  <c:v>309</c:v>
                </c:pt>
                <c:pt idx="168">
                  <c:v>329</c:v>
                </c:pt>
                <c:pt idx="169">
                  <c:v>350</c:v>
                </c:pt>
                <c:pt idx="170">
                  <c:v>373</c:v>
                </c:pt>
                <c:pt idx="171">
                  <c:v>398</c:v>
                </c:pt>
                <c:pt idx="172">
                  <c:v>424</c:v>
                </c:pt>
                <c:pt idx="173">
                  <c:v>451</c:v>
                </c:pt>
                <c:pt idx="174">
                  <c:v>480</c:v>
                </c:pt>
                <c:pt idx="175">
                  <c:v>511</c:v>
                </c:pt>
                <c:pt idx="176">
                  <c:v>544</c:v>
                </c:pt>
                <c:pt idx="177">
                  <c:v>579</c:v>
                </c:pt>
                <c:pt idx="178">
                  <c:v>616</c:v>
                </c:pt>
                <c:pt idx="179">
                  <c:v>656</c:v>
                </c:pt>
                <c:pt idx="180">
                  <c:v>698</c:v>
                </c:pt>
                <c:pt idx="181">
                  <c:v>743</c:v>
                </c:pt>
                <c:pt idx="182">
                  <c:v>791</c:v>
                </c:pt>
                <c:pt idx="183">
                  <c:v>8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61A-4DA9-AEBB-75C7990459F8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4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G$244:$G$427</c:f>
              <c:numCache>
                <c:formatCode>General</c:formatCode>
                <c:ptCount val="184"/>
                <c:pt idx="153">
                  <c:v>127</c:v>
                </c:pt>
                <c:pt idx="154">
                  <c:v>137</c:v>
                </c:pt>
                <c:pt idx="155">
                  <c:v>145</c:v>
                </c:pt>
                <c:pt idx="156">
                  <c:v>152</c:v>
                </c:pt>
                <c:pt idx="157">
                  <c:v>162</c:v>
                </c:pt>
                <c:pt idx="158">
                  <c:v>173</c:v>
                </c:pt>
                <c:pt idx="159">
                  <c:v>186</c:v>
                </c:pt>
                <c:pt idx="160">
                  <c:v>200</c:v>
                </c:pt>
                <c:pt idx="161">
                  <c:v>212</c:v>
                </c:pt>
                <c:pt idx="162">
                  <c:v>224</c:v>
                </c:pt>
                <c:pt idx="163">
                  <c:v>239</c:v>
                </c:pt>
                <c:pt idx="164">
                  <c:v>272</c:v>
                </c:pt>
                <c:pt idx="165">
                  <c:v>300</c:v>
                </c:pt>
                <c:pt idx="166">
                  <c:v>326</c:v>
                </c:pt>
                <c:pt idx="167">
                  <c:v>349</c:v>
                </c:pt>
                <c:pt idx="168">
                  <c:v>380</c:v>
                </c:pt>
                <c:pt idx="169">
                  <c:v>416</c:v>
                </c:pt>
                <c:pt idx="170">
                  <c:v>457</c:v>
                </c:pt>
                <c:pt idx="171">
                  <c:v>502</c:v>
                </c:pt>
                <c:pt idx="172">
                  <c:v>545</c:v>
                </c:pt>
                <c:pt idx="173">
                  <c:v>592</c:v>
                </c:pt>
                <c:pt idx="174">
                  <c:v>644</c:v>
                </c:pt>
                <c:pt idx="175">
                  <c:v>705</c:v>
                </c:pt>
                <c:pt idx="176">
                  <c:v>771</c:v>
                </c:pt>
                <c:pt idx="177">
                  <c:v>841</c:v>
                </c:pt>
                <c:pt idx="178">
                  <c:v>916</c:v>
                </c:pt>
                <c:pt idx="179">
                  <c:v>997</c:v>
                </c:pt>
                <c:pt idx="180">
                  <c:v>1088</c:v>
                </c:pt>
                <c:pt idx="181">
                  <c:v>1188</c:v>
                </c:pt>
                <c:pt idx="182">
                  <c:v>1297</c:v>
                </c:pt>
                <c:pt idx="183">
                  <c:v>14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61A-4DA9-AEBB-75C7990459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ax val="44500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H$122:$H$274</c:f>
              <c:numCache>
                <c:formatCode>0</c:formatCode>
                <c:ptCount val="15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AF-41D6-8405-081FF68E574F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I$122:$I$274</c:f>
              <c:numCache>
                <c:formatCode>0</c:formatCode>
                <c:ptCount val="153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4AF-41D6-8405-081FF68E57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B$122:$B$274</c:f>
              <c:numCache>
                <c:formatCode>0</c:formatCode>
                <c:ptCount val="153"/>
                <c:pt idx="0">
                  <c:v>21.030088047399243</c:v>
                </c:pt>
                <c:pt idx="1">
                  <c:v>20.529371665318308</c:v>
                </c:pt>
                <c:pt idx="2">
                  <c:v>19.81406254805983</c:v>
                </c:pt>
                <c:pt idx="3">
                  <c:v>17.954258843187787</c:v>
                </c:pt>
                <c:pt idx="4">
                  <c:v>17.310480637655161</c:v>
                </c:pt>
                <c:pt idx="5">
                  <c:v>18.168851578365334</c:v>
                </c:pt>
                <c:pt idx="6">
                  <c:v>15.736800579686509</c:v>
                </c:pt>
                <c:pt idx="7">
                  <c:v>15.879862403138205</c:v>
                </c:pt>
                <c:pt idx="8">
                  <c:v>14.949960550702183</c:v>
                </c:pt>
                <c:pt idx="9">
                  <c:v>13.376280492733532</c:v>
                </c:pt>
                <c:pt idx="10">
                  <c:v>13.090156845830142</c:v>
                </c:pt>
                <c:pt idx="11">
                  <c:v>12.374847728571664</c:v>
                </c:pt>
                <c:pt idx="12">
                  <c:v>11.158822229232252</c:v>
                </c:pt>
                <c:pt idx="13">
                  <c:v>10.443513111973774</c:v>
                </c:pt>
                <c:pt idx="14">
                  <c:v>9.155956700908515</c:v>
                </c:pt>
                <c:pt idx="15">
                  <c:v>8.4406475836500352</c:v>
                </c:pt>
                <c:pt idx="16">
                  <c:v>9.0128948774568194</c:v>
                </c:pt>
                <c:pt idx="17">
                  <c:v>9.4420803478119044</c:v>
                </c:pt>
                <c:pt idx="18">
                  <c:v>9.4420803478119044</c:v>
                </c:pt>
                <c:pt idx="19">
                  <c:v>9.6566730829894478</c:v>
                </c:pt>
                <c:pt idx="20">
                  <c:v>8.798302142279276</c:v>
                </c:pt>
                <c:pt idx="21">
                  <c:v>7.8684002898432546</c:v>
                </c:pt>
                <c:pt idx="22">
                  <c:v>7.5107457312140156</c:v>
                </c:pt>
                <c:pt idx="23">
                  <c:v>7.2961529960364722</c:v>
                </c:pt>
                <c:pt idx="24">
                  <c:v>8.3691166719241874</c:v>
                </c:pt>
                <c:pt idx="25">
                  <c:v>8.5121784953758848</c:v>
                </c:pt>
                <c:pt idx="26">
                  <c:v>8.1545239367466458</c:v>
                </c:pt>
                <c:pt idx="27">
                  <c:v>8.4406475836500352</c:v>
                </c:pt>
                <c:pt idx="28">
                  <c:v>9.0128948774568194</c:v>
                </c:pt>
                <c:pt idx="29">
                  <c:v>9.7997349064411434</c:v>
                </c:pt>
                <c:pt idx="30">
                  <c:v>10.157389465070382</c:v>
                </c:pt>
                <c:pt idx="31">
                  <c:v>9.3705494360860566</c:v>
                </c:pt>
                <c:pt idx="32">
                  <c:v>10.157389465070382</c:v>
                </c:pt>
                <c:pt idx="33">
                  <c:v>11.301884052683947</c:v>
                </c:pt>
                <c:pt idx="34">
                  <c:v>11.802600434764882</c:v>
                </c:pt>
                <c:pt idx="35">
                  <c:v>12.088724081668273</c:v>
                </c:pt>
                <c:pt idx="36">
                  <c:v>13.590873227911077</c:v>
                </c:pt>
                <c:pt idx="37">
                  <c:v>14.306182345169551</c:v>
                </c:pt>
                <c:pt idx="38">
                  <c:v>15.879862403138205</c:v>
                </c:pt>
                <c:pt idx="39">
                  <c:v>17.167418814203465</c:v>
                </c:pt>
                <c:pt idx="40">
                  <c:v>17.811197019736092</c:v>
                </c:pt>
                <c:pt idx="41">
                  <c:v>19.1702843425272</c:v>
                </c:pt>
                <c:pt idx="42">
                  <c:v>20.529371665318308</c:v>
                </c:pt>
                <c:pt idx="43">
                  <c:v>21.101618959125091</c:v>
                </c:pt>
                <c:pt idx="44">
                  <c:v>21.173149870850938</c:v>
                </c:pt>
                <c:pt idx="45">
                  <c:v>21.316211694302634</c:v>
                </c:pt>
                <c:pt idx="46">
                  <c:v>20.958557135673395</c:v>
                </c:pt>
                <c:pt idx="47">
                  <c:v>20.171717106689069</c:v>
                </c:pt>
                <c:pt idx="48">
                  <c:v>19.742531636333982</c:v>
                </c:pt>
                <c:pt idx="49">
                  <c:v>20.958557135673395</c:v>
                </c:pt>
                <c:pt idx="50">
                  <c:v>19.384877077704747</c:v>
                </c:pt>
                <c:pt idx="51">
                  <c:v>18.741098872172113</c:v>
                </c:pt>
                <c:pt idx="52">
                  <c:v>17.739666108010248</c:v>
                </c:pt>
                <c:pt idx="53">
                  <c:v>17.525073372832701</c:v>
                </c:pt>
                <c:pt idx="54">
                  <c:v>16.738233343848375</c:v>
                </c:pt>
                <c:pt idx="55">
                  <c:v>16.738233343848375</c:v>
                </c:pt>
                <c:pt idx="56">
                  <c:v>14.306182345169551</c:v>
                </c:pt>
                <c:pt idx="57">
                  <c:v>14.163120521717859</c:v>
                </c:pt>
                <c:pt idx="58">
                  <c:v>14.592305992072944</c:v>
                </c:pt>
                <c:pt idx="59">
                  <c:v>13.376280492733532</c:v>
                </c:pt>
                <c:pt idx="60">
                  <c:v>13.018625934104293</c:v>
                </c:pt>
                <c:pt idx="61">
                  <c:v>13.090156845830142</c:v>
                </c:pt>
                <c:pt idx="62">
                  <c:v>12.160254993394121</c:v>
                </c:pt>
                <c:pt idx="63">
                  <c:v>13.090156845830142</c:v>
                </c:pt>
                <c:pt idx="64">
                  <c:v>12.875564110652597</c:v>
                </c:pt>
                <c:pt idx="65">
                  <c:v>11.945662258216577</c:v>
                </c:pt>
                <c:pt idx="66">
                  <c:v>12.374847728571664</c:v>
                </c:pt>
                <c:pt idx="67">
                  <c:v>12.660971375475055</c:v>
                </c:pt>
                <c:pt idx="68">
                  <c:v>13.376280492733532</c:v>
                </c:pt>
                <c:pt idx="69">
                  <c:v>12.875564110652597</c:v>
                </c:pt>
                <c:pt idx="70">
                  <c:v>12.660971375475055</c:v>
                </c:pt>
                <c:pt idx="71">
                  <c:v>13.876996874814468</c:v>
                </c:pt>
                <c:pt idx="72">
                  <c:v>14.449244168621247</c:v>
                </c:pt>
                <c:pt idx="73">
                  <c:v>15.307615109331422</c:v>
                </c:pt>
                <c:pt idx="74">
                  <c:v>14.949960550702183</c:v>
                </c:pt>
                <c:pt idx="75">
                  <c:v>14.234651433443705</c:v>
                </c:pt>
                <c:pt idx="76">
                  <c:v>14.234651433443705</c:v>
                </c:pt>
                <c:pt idx="77">
                  <c:v>14.306182345169551</c:v>
                </c:pt>
                <c:pt idx="78">
                  <c:v>13.948527786540314</c:v>
                </c:pt>
                <c:pt idx="79">
                  <c:v>13.447811404459381</c:v>
                </c:pt>
                <c:pt idx="80">
                  <c:v>12.947095022378447</c:v>
                </c:pt>
                <c:pt idx="81">
                  <c:v>12.660971375475055</c:v>
                </c:pt>
                <c:pt idx="82">
                  <c:v>13.733935051362772</c:v>
                </c:pt>
                <c:pt idx="83">
                  <c:v>15.593738756234814</c:v>
                </c:pt>
                <c:pt idx="84">
                  <c:v>15.307615109331422</c:v>
                </c:pt>
                <c:pt idx="85">
                  <c:v>14.806898727250488</c:v>
                </c:pt>
                <c:pt idx="86">
                  <c:v>16.165986050041596</c:v>
                </c:pt>
                <c:pt idx="87">
                  <c:v>16.523640608670835</c:v>
                </c:pt>
                <c:pt idx="88">
                  <c:v>16.952826079025922</c:v>
                </c:pt>
                <c:pt idx="89">
                  <c:v>16.595171520396679</c:v>
                </c:pt>
                <c:pt idx="90">
                  <c:v>16.309047873493292</c:v>
                </c:pt>
                <c:pt idx="91">
                  <c:v>15.593738756234814</c:v>
                </c:pt>
                <c:pt idx="92">
                  <c:v>15.879862403138205</c:v>
                </c:pt>
                <c:pt idx="93">
                  <c:v>16.094455138315748</c:v>
                </c:pt>
                <c:pt idx="94">
                  <c:v>16.666702432122531</c:v>
                </c:pt>
                <c:pt idx="95">
                  <c:v>16.88129516730007</c:v>
                </c:pt>
                <c:pt idx="96">
                  <c:v>16.738233343848375</c:v>
                </c:pt>
                <c:pt idx="97">
                  <c:v>17.02435699075177</c:v>
                </c:pt>
                <c:pt idx="98">
                  <c:v>22.389175370190351</c:v>
                </c:pt>
                <c:pt idx="99">
                  <c:v>22.74682992881959</c:v>
                </c:pt>
                <c:pt idx="100">
                  <c:v>23.462139046078068</c:v>
                </c:pt>
                <c:pt idx="101">
                  <c:v>25.393473662675959</c:v>
                </c:pt>
                <c:pt idx="102">
                  <c:v>25.751128221305194</c:v>
                </c:pt>
                <c:pt idx="103">
                  <c:v>25.894190044756893</c:v>
                </c:pt>
                <c:pt idx="104">
                  <c:v>28.183179219984019</c:v>
                </c:pt>
                <c:pt idx="105">
                  <c:v>26.108782779934433</c:v>
                </c:pt>
                <c:pt idx="106">
                  <c:v>28.254710131709867</c:v>
                </c:pt>
                <c:pt idx="107">
                  <c:v>30.257575660033606</c:v>
                </c:pt>
                <c:pt idx="108">
                  <c:v>29.542266542775124</c:v>
                </c:pt>
                <c:pt idx="109">
                  <c:v>30.472168395211153</c:v>
                </c:pt>
                <c:pt idx="110">
                  <c:v>30.543699306936997</c:v>
                </c:pt>
                <c:pt idx="111">
                  <c:v>30.472168395211153</c:v>
                </c:pt>
                <c:pt idx="112">
                  <c:v>31.330539335921319</c:v>
                </c:pt>
                <c:pt idx="113">
                  <c:v>32.546564835260732</c:v>
                </c:pt>
                <c:pt idx="114">
                  <c:v>31.831255718002257</c:v>
                </c:pt>
                <c:pt idx="115">
                  <c:v>33.834121246325992</c:v>
                </c:pt>
                <c:pt idx="116">
                  <c:v>34.33483762840693</c:v>
                </c:pt>
                <c:pt idx="117">
                  <c:v>35.908517686375575</c:v>
                </c:pt>
                <c:pt idx="118">
                  <c:v>37.410666832618382</c:v>
                </c:pt>
                <c:pt idx="119">
                  <c:v>37.267605009166687</c:v>
                </c:pt>
                <c:pt idx="120">
                  <c:v>37.625259567795929</c:v>
                </c:pt>
                <c:pt idx="121">
                  <c:v>42.131707006524337</c:v>
                </c:pt>
                <c:pt idx="122">
                  <c:v>44.992943475558242</c:v>
                </c:pt>
                <c:pt idx="123">
                  <c:v>47.210401739059527</c:v>
                </c:pt>
                <c:pt idx="124">
                  <c:v>46.495092621801049</c:v>
                </c:pt>
                <c:pt idx="125">
                  <c:v>45.994376239720111</c:v>
                </c:pt>
                <c:pt idx="126">
                  <c:v>50.715416413626066</c:v>
                </c:pt>
                <c:pt idx="127">
                  <c:v>54.649616558547692</c:v>
                </c:pt>
                <c:pt idx="128">
                  <c:v>53.791245617837525</c:v>
                </c:pt>
                <c:pt idx="129">
                  <c:v>52.503689206772265</c:v>
                </c:pt>
                <c:pt idx="130">
                  <c:v>53.362060147482431</c:v>
                </c:pt>
                <c:pt idx="131">
                  <c:v>53.433591059208275</c:v>
                </c:pt>
                <c:pt idx="132">
                  <c:v>57.439322115855759</c:v>
                </c:pt>
                <c:pt idx="133">
                  <c:v>58.011569409662542</c:v>
                </c:pt>
                <c:pt idx="134">
                  <c:v>60.157496761437969</c:v>
                </c:pt>
                <c:pt idx="135">
                  <c:v>63.734042347730359</c:v>
                </c:pt>
                <c:pt idx="136">
                  <c:v>68.312020698184625</c:v>
                </c:pt>
                <c:pt idx="137">
                  <c:v>71.316318990670212</c:v>
                </c:pt>
                <c:pt idx="138">
                  <c:v>75.465111870769391</c:v>
                </c:pt>
                <c:pt idx="139">
                  <c:v>87.267712305534275</c:v>
                </c:pt>
                <c:pt idx="140">
                  <c:v>104.29206929628604</c:v>
                </c:pt>
                <c:pt idx="141">
                  <c:v>117.38222614211618</c:v>
                </c:pt>
                <c:pt idx="142">
                  <c:v>137.26781960190186</c:v>
                </c:pt>
                <c:pt idx="143">
                  <c:v>155.50820209199304</c:v>
                </c:pt>
                <c:pt idx="144">
                  <c:v>169.17060623162999</c:v>
                </c:pt>
                <c:pt idx="145">
                  <c:v>178.11197019736093</c:v>
                </c:pt>
                <c:pt idx="146">
                  <c:v>189.91457063212582</c:v>
                </c:pt>
                <c:pt idx="147">
                  <c:v>209.442509533282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4AF-41D6-8405-081FF68E57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C$122:$C$274</c:f>
              <c:numCache>
                <c:formatCode>General</c:formatCode>
                <c:ptCount val="15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4AF-41D6-8405-081FF68E574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1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D$122:$D$274</c:f>
              <c:numCache>
                <c:formatCode>General</c:formatCode>
                <c:ptCount val="153"/>
                <c:pt idx="122">
                  <c:v>42.632423388605268</c:v>
                </c:pt>
                <c:pt idx="123">
                  <c:v>44.277634358299771</c:v>
                </c:pt>
                <c:pt idx="124">
                  <c:v>45.922845327994267</c:v>
                </c:pt>
                <c:pt idx="125">
                  <c:v>47.639587209414614</c:v>
                </c:pt>
                <c:pt idx="126">
                  <c:v>49.427860002560813</c:v>
                </c:pt>
                <c:pt idx="127">
                  <c:v>51.287663707432849</c:v>
                </c:pt>
                <c:pt idx="128">
                  <c:v>53.290529235756587</c:v>
                </c:pt>
                <c:pt idx="129">
                  <c:v>55.293394764080318</c:v>
                </c:pt>
                <c:pt idx="130">
                  <c:v>57.367791204129915</c:v>
                </c:pt>
                <c:pt idx="131">
                  <c:v>59.585249467631186</c:v>
                </c:pt>
                <c:pt idx="132">
                  <c:v>61.802707731132472</c:v>
                </c:pt>
                <c:pt idx="133">
                  <c:v>64.091696906359601</c:v>
                </c:pt>
                <c:pt idx="134">
                  <c:v>66.523747905038434</c:v>
                </c:pt>
                <c:pt idx="135">
                  <c:v>68.955798903717252</c:v>
                </c:pt>
                <c:pt idx="136">
                  <c:v>71.530911725847773</c:v>
                </c:pt>
                <c:pt idx="137">
                  <c:v>74.177555459704138</c:v>
                </c:pt>
                <c:pt idx="138">
                  <c:v>76.895730105286347</c:v>
                </c:pt>
                <c:pt idx="139">
                  <c:v>79.756966574320259</c:v>
                </c:pt>
                <c:pt idx="140">
                  <c:v>82.689733955080015</c:v>
                </c:pt>
                <c:pt idx="141">
                  <c:v>85.69403224756563</c:v>
                </c:pt>
                <c:pt idx="142">
                  <c:v>88.841392363502919</c:v>
                </c:pt>
                <c:pt idx="143">
                  <c:v>92.060283391166067</c:v>
                </c:pt>
                <c:pt idx="144">
                  <c:v>95.350705330555073</c:v>
                </c:pt>
                <c:pt idx="145">
                  <c:v>98.784189093395767</c:v>
                </c:pt>
                <c:pt idx="146">
                  <c:v>102.36073467968815</c:v>
                </c:pt>
                <c:pt idx="147">
                  <c:v>106.08034208943224</c:v>
                </c:pt>
                <c:pt idx="148">
                  <c:v>109.87148041090218</c:v>
                </c:pt>
                <c:pt idx="149">
                  <c:v>113.80568055582378</c:v>
                </c:pt>
                <c:pt idx="150">
                  <c:v>117.88294252419712</c:v>
                </c:pt>
                <c:pt idx="151">
                  <c:v>122.10326631602213</c:v>
                </c:pt>
                <c:pt idx="152">
                  <c:v>126.466651931298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4AF-41D6-8405-081FF68E574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E$122:$E$274</c:f>
              <c:numCache>
                <c:formatCode>General</c:formatCode>
                <c:ptCount val="153"/>
                <c:pt idx="122">
                  <c:v>42.847016123782815</c:v>
                </c:pt>
                <c:pt idx="123">
                  <c:v>44.849881652106546</c:v>
                </c:pt>
                <c:pt idx="124">
                  <c:v>47.067339915607832</c:v>
                </c:pt>
                <c:pt idx="125">
                  <c:v>49.356329090834961</c:v>
                </c:pt>
                <c:pt idx="126">
                  <c:v>51.859911001239631</c:v>
                </c:pt>
                <c:pt idx="127">
                  <c:v>54.578085646821847</c:v>
                </c:pt>
                <c:pt idx="128">
                  <c:v>57.582383939307455</c:v>
                </c:pt>
                <c:pt idx="129">
                  <c:v>60.658213143518907</c:v>
                </c:pt>
                <c:pt idx="130">
                  <c:v>63.805573259456203</c:v>
                </c:pt>
                <c:pt idx="131">
                  <c:v>67.024464287119358</c:v>
                </c:pt>
                <c:pt idx="132">
                  <c:v>70.529478961685896</c:v>
                </c:pt>
                <c:pt idx="133">
                  <c:v>74.249086371429982</c:v>
                </c:pt>
                <c:pt idx="134">
                  <c:v>78.183286516351615</c:v>
                </c:pt>
                <c:pt idx="135">
                  <c:v>82.260548484724922</c:v>
                </c:pt>
                <c:pt idx="136">
                  <c:v>86.480872276549945</c:v>
                </c:pt>
                <c:pt idx="137">
                  <c:v>90.915788803552502</c:v>
                </c:pt>
                <c:pt idx="138">
                  <c:v>95.636828977458464</c:v>
                </c:pt>
                <c:pt idx="139">
                  <c:v>100.57246188654196</c:v>
                </c:pt>
                <c:pt idx="140">
                  <c:v>105.72268753080299</c:v>
                </c:pt>
                <c:pt idx="141">
                  <c:v>111.08750591024157</c:v>
                </c:pt>
                <c:pt idx="142">
                  <c:v>116.73844793658355</c:v>
                </c:pt>
                <c:pt idx="143">
                  <c:v>122.67551360982893</c:v>
                </c:pt>
                <c:pt idx="144">
                  <c:v>128.89870292997767</c:v>
                </c:pt>
                <c:pt idx="145">
                  <c:v>135.40801589702983</c:v>
                </c:pt>
                <c:pt idx="146">
                  <c:v>142.27498342271122</c:v>
                </c:pt>
                <c:pt idx="147">
                  <c:v>149.49960550702184</c:v>
                </c:pt>
                <c:pt idx="148">
                  <c:v>157.0818821499617</c:v>
                </c:pt>
                <c:pt idx="149">
                  <c:v>165.0218133515308</c:v>
                </c:pt>
                <c:pt idx="150">
                  <c:v>173.31939911172913</c:v>
                </c:pt>
                <c:pt idx="151">
                  <c:v>182.04617034228255</c:v>
                </c:pt>
                <c:pt idx="152">
                  <c:v>191.20212704319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4AF-41D6-8405-081FF68E574F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F$122:$F$274</c:f>
              <c:numCache>
                <c:formatCode>General</c:formatCode>
                <c:ptCount val="153"/>
                <c:pt idx="122">
                  <c:v>43.133139770686206</c:v>
                </c:pt>
                <c:pt idx="123">
                  <c:v>45.565190769365032</c:v>
                </c:pt>
                <c:pt idx="124">
                  <c:v>48.21183450322139</c:v>
                </c:pt>
                <c:pt idx="125">
                  <c:v>51.073070972255302</c:v>
                </c:pt>
                <c:pt idx="126">
                  <c:v>54.291961999918456</c:v>
                </c:pt>
                <c:pt idx="127">
                  <c:v>57.940038497936698</c:v>
                </c:pt>
                <c:pt idx="128">
                  <c:v>62.088831378035856</c:v>
                </c:pt>
                <c:pt idx="129">
                  <c:v>66.237624258135028</c:v>
                </c:pt>
                <c:pt idx="130">
                  <c:v>70.529478961685896</c:v>
                </c:pt>
                <c:pt idx="131">
                  <c:v>75.107457312140156</c:v>
                </c:pt>
                <c:pt idx="132">
                  <c:v>80.04309022122365</c:v>
                </c:pt>
                <c:pt idx="133">
                  <c:v>85.407908600662225</c:v>
                </c:pt>
                <c:pt idx="134">
                  <c:v>91.130381538730063</c:v>
                </c:pt>
                <c:pt idx="135">
                  <c:v>97.138978123701264</c:v>
                </c:pt>
                <c:pt idx="136">
                  <c:v>103.43369835557586</c:v>
                </c:pt>
                <c:pt idx="137">
                  <c:v>110.0860731460797</c:v>
                </c:pt>
                <c:pt idx="138">
                  <c:v>117.31069523039034</c:v>
                </c:pt>
                <c:pt idx="139">
                  <c:v>125.0360336967819</c:v>
                </c:pt>
                <c:pt idx="140">
                  <c:v>133.19055763352856</c:v>
                </c:pt>
                <c:pt idx="141">
                  <c:v>141.84579795235612</c:v>
                </c:pt>
                <c:pt idx="142">
                  <c:v>151.00175465326464</c:v>
                </c:pt>
                <c:pt idx="143">
                  <c:v>160.72995864797994</c:v>
                </c:pt>
                <c:pt idx="144">
                  <c:v>171.17347175995371</c:v>
                </c:pt>
                <c:pt idx="145">
                  <c:v>182.26076307746013</c:v>
                </c:pt>
                <c:pt idx="146">
                  <c:v>194.06336351222498</c:v>
                </c:pt>
                <c:pt idx="147">
                  <c:v>206.58127306424834</c:v>
                </c:pt>
                <c:pt idx="148">
                  <c:v>219.88602264525602</c:v>
                </c:pt>
                <c:pt idx="149">
                  <c:v>234.12067407869975</c:v>
                </c:pt>
                <c:pt idx="150">
                  <c:v>249.28522736457947</c:v>
                </c:pt>
                <c:pt idx="151">
                  <c:v>265.37968250289521</c:v>
                </c:pt>
                <c:pt idx="152">
                  <c:v>282.475570405372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64AF-41D6-8405-081FF68E574F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4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G$122:$G$274</c:f>
              <c:numCache>
                <c:formatCode>General</c:formatCode>
                <c:ptCount val="153"/>
                <c:pt idx="122">
                  <c:v>43.133139770686206</c:v>
                </c:pt>
                <c:pt idx="123">
                  <c:v>45.565190769365032</c:v>
                </c:pt>
                <c:pt idx="124">
                  <c:v>48.21183450322139</c:v>
                </c:pt>
                <c:pt idx="125">
                  <c:v>51.073070972255302</c:v>
                </c:pt>
                <c:pt idx="126">
                  <c:v>54.291961999918456</c:v>
                </c:pt>
                <c:pt idx="127">
                  <c:v>57.940038497936698</c:v>
                </c:pt>
                <c:pt idx="128">
                  <c:v>62.088831378035856</c:v>
                </c:pt>
                <c:pt idx="129">
                  <c:v>66.237624258135028</c:v>
                </c:pt>
                <c:pt idx="130">
                  <c:v>70.529478961685896</c:v>
                </c:pt>
                <c:pt idx="131">
                  <c:v>75.107457312140156</c:v>
                </c:pt>
                <c:pt idx="132">
                  <c:v>80.04309022122365</c:v>
                </c:pt>
                <c:pt idx="133">
                  <c:v>86.337810453098257</c:v>
                </c:pt>
                <c:pt idx="134">
                  <c:v>93.633963449134725</c:v>
                </c:pt>
                <c:pt idx="135">
                  <c:v>101.64542556242966</c:v>
                </c:pt>
                <c:pt idx="136">
                  <c:v>110.2291349695314</c:v>
                </c:pt>
                <c:pt idx="137">
                  <c:v>119.814277140795</c:v>
                </c:pt>
                <c:pt idx="138">
                  <c:v>130.83003754657557</c:v>
                </c:pt>
                <c:pt idx="139">
                  <c:v>143.34794709859892</c:v>
                </c:pt>
                <c:pt idx="140">
                  <c:v>156.50963485615492</c:v>
                </c:pt>
                <c:pt idx="141">
                  <c:v>170.52969355442107</c:v>
                </c:pt>
                <c:pt idx="142">
                  <c:v>185.76577775202665</c:v>
                </c:pt>
                <c:pt idx="143">
                  <c:v>202.64707291932672</c:v>
                </c:pt>
                <c:pt idx="144">
                  <c:v>221.31664087977299</c:v>
                </c:pt>
                <c:pt idx="145">
                  <c:v>241.63141980991375</c:v>
                </c:pt>
                <c:pt idx="146">
                  <c:v>263.66294062147489</c:v>
                </c:pt>
                <c:pt idx="147">
                  <c:v>287.41120331445632</c:v>
                </c:pt>
                <c:pt idx="148">
                  <c:v>313.37692427093907</c:v>
                </c:pt>
                <c:pt idx="149">
                  <c:v>341.84622713782647</c:v>
                </c:pt>
                <c:pt idx="150">
                  <c:v>373.0337046502961</c:v>
                </c:pt>
                <c:pt idx="151">
                  <c:v>406.93935680834795</c:v>
                </c:pt>
                <c:pt idx="152">
                  <c:v>443.77777634715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64AF-41D6-8405-081FF68E57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3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B$244:$B$427</c:f>
              <c:numCache>
                <c:formatCode>0</c:formatCode>
                <c:ptCount val="184"/>
                <c:pt idx="0">
                  <c:v>98</c:v>
                </c:pt>
                <c:pt idx="1">
                  <c:v>49</c:v>
                </c:pt>
                <c:pt idx="2">
                  <c:v>152</c:v>
                </c:pt>
                <c:pt idx="3">
                  <c:v>255</c:v>
                </c:pt>
                <c:pt idx="4">
                  <c:v>177</c:v>
                </c:pt>
                <c:pt idx="5">
                  <c:v>158</c:v>
                </c:pt>
                <c:pt idx="6">
                  <c:v>157</c:v>
                </c:pt>
                <c:pt idx="7">
                  <c:v>32</c:v>
                </c:pt>
                <c:pt idx="8">
                  <c:v>6</c:v>
                </c:pt>
                <c:pt idx="9">
                  <c:v>142</c:v>
                </c:pt>
                <c:pt idx="10">
                  <c:v>171</c:v>
                </c:pt>
                <c:pt idx="11">
                  <c:v>97</c:v>
                </c:pt>
                <c:pt idx="12">
                  <c:v>102</c:v>
                </c:pt>
                <c:pt idx="13">
                  <c:v>77</c:v>
                </c:pt>
                <c:pt idx="14">
                  <c:v>39</c:v>
                </c:pt>
                <c:pt idx="15">
                  <c:v>4</c:v>
                </c:pt>
                <c:pt idx="16">
                  <c:v>95</c:v>
                </c:pt>
                <c:pt idx="17">
                  <c:v>78</c:v>
                </c:pt>
                <c:pt idx="18">
                  <c:v>66</c:v>
                </c:pt>
                <c:pt idx="19">
                  <c:v>45</c:v>
                </c:pt>
                <c:pt idx="20">
                  <c:v>67</c:v>
                </c:pt>
                <c:pt idx="21">
                  <c:v>25</c:v>
                </c:pt>
                <c:pt idx="22">
                  <c:v>6</c:v>
                </c:pt>
                <c:pt idx="23">
                  <c:v>35</c:v>
                </c:pt>
                <c:pt idx="24">
                  <c:v>68</c:v>
                </c:pt>
                <c:pt idx="25">
                  <c:v>36</c:v>
                </c:pt>
                <c:pt idx="26">
                  <c:v>45</c:v>
                </c:pt>
                <c:pt idx="27">
                  <c:v>61</c:v>
                </c:pt>
                <c:pt idx="28">
                  <c:v>9</c:v>
                </c:pt>
                <c:pt idx="29">
                  <c:v>6</c:v>
                </c:pt>
                <c:pt idx="30">
                  <c:v>36</c:v>
                </c:pt>
                <c:pt idx="31">
                  <c:v>33</c:v>
                </c:pt>
                <c:pt idx="32">
                  <c:v>34</c:v>
                </c:pt>
                <c:pt idx="33">
                  <c:v>81</c:v>
                </c:pt>
                <c:pt idx="34">
                  <c:v>32</c:v>
                </c:pt>
                <c:pt idx="35">
                  <c:v>17</c:v>
                </c:pt>
                <c:pt idx="36">
                  <c:v>2</c:v>
                </c:pt>
                <c:pt idx="37">
                  <c:v>21</c:v>
                </c:pt>
                <c:pt idx="38">
                  <c:v>59</c:v>
                </c:pt>
                <c:pt idx="39">
                  <c:v>30</c:v>
                </c:pt>
                <c:pt idx="40">
                  <c:v>21</c:v>
                </c:pt>
                <c:pt idx="41">
                  <c:v>31</c:v>
                </c:pt>
                <c:pt idx="42">
                  <c:v>6</c:v>
                </c:pt>
                <c:pt idx="43">
                  <c:v>0</c:v>
                </c:pt>
                <c:pt idx="44">
                  <c:v>17</c:v>
                </c:pt>
                <c:pt idx="45">
                  <c:v>25</c:v>
                </c:pt>
                <c:pt idx="46">
                  <c:v>14</c:v>
                </c:pt>
                <c:pt idx="47">
                  <c:v>18</c:v>
                </c:pt>
                <c:pt idx="48">
                  <c:v>6</c:v>
                </c:pt>
                <c:pt idx="49">
                  <c:v>4</c:v>
                </c:pt>
                <c:pt idx="50">
                  <c:v>1</c:v>
                </c:pt>
                <c:pt idx="51">
                  <c:v>5</c:v>
                </c:pt>
                <c:pt idx="52">
                  <c:v>8</c:v>
                </c:pt>
                <c:pt idx="53">
                  <c:v>4</c:v>
                </c:pt>
                <c:pt idx="54">
                  <c:v>4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3</c:v>
                </c:pt>
                <c:pt idx="59">
                  <c:v>4</c:v>
                </c:pt>
                <c:pt idx="60">
                  <c:v>2</c:v>
                </c:pt>
                <c:pt idx="61">
                  <c:v>6</c:v>
                </c:pt>
                <c:pt idx="62">
                  <c:v>4</c:v>
                </c:pt>
                <c:pt idx="63">
                  <c:v>3</c:v>
                </c:pt>
                <c:pt idx="64">
                  <c:v>2</c:v>
                </c:pt>
                <c:pt idx="65">
                  <c:v>2</c:v>
                </c:pt>
                <c:pt idx="66">
                  <c:v>3</c:v>
                </c:pt>
                <c:pt idx="67">
                  <c:v>4</c:v>
                </c:pt>
                <c:pt idx="68">
                  <c:v>6</c:v>
                </c:pt>
                <c:pt idx="69">
                  <c:v>9</c:v>
                </c:pt>
                <c:pt idx="70">
                  <c:v>4</c:v>
                </c:pt>
                <c:pt idx="71">
                  <c:v>0</c:v>
                </c:pt>
                <c:pt idx="72">
                  <c:v>9</c:v>
                </c:pt>
                <c:pt idx="73">
                  <c:v>12</c:v>
                </c:pt>
                <c:pt idx="74">
                  <c:v>6</c:v>
                </c:pt>
                <c:pt idx="75">
                  <c:v>7</c:v>
                </c:pt>
                <c:pt idx="76">
                  <c:v>6</c:v>
                </c:pt>
                <c:pt idx="77">
                  <c:v>4</c:v>
                </c:pt>
                <c:pt idx="78">
                  <c:v>1</c:v>
                </c:pt>
                <c:pt idx="79">
                  <c:v>11</c:v>
                </c:pt>
                <c:pt idx="80">
                  <c:v>6</c:v>
                </c:pt>
                <c:pt idx="81">
                  <c:v>12</c:v>
                </c:pt>
                <c:pt idx="82">
                  <c:v>10</c:v>
                </c:pt>
                <c:pt idx="83">
                  <c:v>8</c:v>
                </c:pt>
                <c:pt idx="84">
                  <c:v>2</c:v>
                </c:pt>
                <c:pt idx="85">
                  <c:v>2</c:v>
                </c:pt>
                <c:pt idx="86">
                  <c:v>6</c:v>
                </c:pt>
                <c:pt idx="87">
                  <c:v>19</c:v>
                </c:pt>
                <c:pt idx="88">
                  <c:v>11</c:v>
                </c:pt>
                <c:pt idx="89">
                  <c:v>10</c:v>
                </c:pt>
                <c:pt idx="90">
                  <c:v>7</c:v>
                </c:pt>
                <c:pt idx="91">
                  <c:v>1</c:v>
                </c:pt>
                <c:pt idx="92">
                  <c:v>1</c:v>
                </c:pt>
                <c:pt idx="93">
                  <c:v>9</c:v>
                </c:pt>
                <c:pt idx="94">
                  <c:v>11</c:v>
                </c:pt>
                <c:pt idx="95">
                  <c:v>15</c:v>
                </c:pt>
                <c:pt idx="96">
                  <c:v>20</c:v>
                </c:pt>
                <c:pt idx="97">
                  <c:v>13</c:v>
                </c:pt>
                <c:pt idx="98">
                  <c:v>5</c:v>
                </c:pt>
                <c:pt idx="99">
                  <c:v>3</c:v>
                </c:pt>
                <c:pt idx="100">
                  <c:v>12</c:v>
                </c:pt>
                <c:pt idx="101">
                  <c:v>24</c:v>
                </c:pt>
                <c:pt idx="102">
                  <c:v>21</c:v>
                </c:pt>
                <c:pt idx="103">
                  <c:v>15</c:v>
                </c:pt>
                <c:pt idx="104">
                  <c:v>14</c:v>
                </c:pt>
                <c:pt idx="105">
                  <c:v>11</c:v>
                </c:pt>
                <c:pt idx="106">
                  <c:v>2</c:v>
                </c:pt>
                <c:pt idx="107">
                  <c:v>15</c:v>
                </c:pt>
                <c:pt idx="108">
                  <c:v>35</c:v>
                </c:pt>
                <c:pt idx="109">
                  <c:v>21</c:v>
                </c:pt>
                <c:pt idx="110">
                  <c:v>15</c:v>
                </c:pt>
                <c:pt idx="111">
                  <c:v>16</c:v>
                </c:pt>
                <c:pt idx="112">
                  <c:v>6</c:v>
                </c:pt>
                <c:pt idx="113">
                  <c:v>6</c:v>
                </c:pt>
                <c:pt idx="114">
                  <c:v>15</c:v>
                </c:pt>
                <c:pt idx="115">
                  <c:v>24</c:v>
                </c:pt>
                <c:pt idx="116">
                  <c:v>13</c:v>
                </c:pt>
                <c:pt idx="117">
                  <c:v>16</c:v>
                </c:pt>
                <c:pt idx="118">
                  <c:v>13</c:v>
                </c:pt>
                <c:pt idx="119">
                  <c:v>5</c:v>
                </c:pt>
                <c:pt idx="120">
                  <c:v>5</c:v>
                </c:pt>
                <c:pt idx="121">
                  <c:v>22</c:v>
                </c:pt>
                <c:pt idx="122">
                  <c:v>33</c:v>
                </c:pt>
                <c:pt idx="123">
                  <c:v>21</c:v>
                </c:pt>
                <c:pt idx="124">
                  <c:v>26</c:v>
                </c:pt>
                <c:pt idx="125">
                  <c:v>20</c:v>
                </c:pt>
                <c:pt idx="126">
                  <c:v>14</c:v>
                </c:pt>
                <c:pt idx="127">
                  <c:v>12</c:v>
                </c:pt>
                <c:pt idx="128">
                  <c:v>14</c:v>
                </c:pt>
                <c:pt idx="129">
                  <c:v>49</c:v>
                </c:pt>
                <c:pt idx="130">
                  <c:v>24</c:v>
                </c:pt>
                <c:pt idx="131">
                  <c:v>23</c:v>
                </c:pt>
                <c:pt idx="132">
                  <c:v>30</c:v>
                </c:pt>
                <c:pt idx="133">
                  <c:v>11</c:v>
                </c:pt>
                <c:pt idx="134">
                  <c:v>6</c:v>
                </c:pt>
                <c:pt idx="135">
                  <c:v>23</c:v>
                </c:pt>
                <c:pt idx="136">
                  <c:v>36</c:v>
                </c:pt>
                <c:pt idx="137">
                  <c:v>20</c:v>
                </c:pt>
                <c:pt idx="138">
                  <c:v>33</c:v>
                </c:pt>
                <c:pt idx="139">
                  <c:v>28</c:v>
                </c:pt>
                <c:pt idx="140">
                  <c:v>8</c:v>
                </c:pt>
                <c:pt idx="141">
                  <c:v>8</c:v>
                </c:pt>
                <c:pt idx="142">
                  <c:v>29</c:v>
                </c:pt>
                <c:pt idx="143">
                  <c:v>37</c:v>
                </c:pt>
                <c:pt idx="144">
                  <c:v>34</c:v>
                </c:pt>
                <c:pt idx="145">
                  <c:v>27</c:v>
                </c:pt>
                <c:pt idx="146">
                  <c:v>34</c:v>
                </c:pt>
                <c:pt idx="147">
                  <c:v>33</c:v>
                </c:pt>
                <c:pt idx="148">
                  <c:v>13</c:v>
                </c:pt>
                <c:pt idx="149">
                  <c:v>58</c:v>
                </c:pt>
                <c:pt idx="150">
                  <c:v>18</c:v>
                </c:pt>
                <c:pt idx="151">
                  <c:v>51</c:v>
                </c:pt>
                <c:pt idx="152">
                  <c:v>69</c:v>
                </c:pt>
                <c:pt idx="153">
                  <c:v>80</c:v>
                </c:pt>
                <c:pt idx="154">
                  <c:v>39</c:v>
                </c:pt>
                <c:pt idx="155">
                  <c:v>17</c:v>
                </c:pt>
                <c:pt idx="156">
                  <c:v>60</c:v>
                </c:pt>
                <c:pt idx="157">
                  <c:v>120</c:v>
                </c:pt>
                <c:pt idx="158">
                  <c:v>76</c:v>
                </c:pt>
                <c:pt idx="159">
                  <c:v>99</c:v>
                </c:pt>
                <c:pt idx="160">
                  <c:v>102</c:v>
                </c:pt>
                <c:pt idx="161">
                  <c:v>18</c:v>
                </c:pt>
                <c:pt idx="162">
                  <c:v>18</c:v>
                </c:pt>
                <c:pt idx="163">
                  <c:v>123</c:v>
                </c:pt>
                <c:pt idx="164">
                  <c:v>177</c:v>
                </c:pt>
                <c:pt idx="165">
                  <c:v>179</c:v>
                </c:pt>
                <c:pt idx="166">
                  <c:v>122</c:v>
                </c:pt>
                <c:pt idx="167">
                  <c:v>183</c:v>
                </c:pt>
                <c:pt idx="168">
                  <c:v>80</c:v>
                </c:pt>
                <c:pt idx="169">
                  <c:v>44</c:v>
                </c:pt>
                <c:pt idx="170">
                  <c:v>185</c:v>
                </c:pt>
                <c:pt idx="171">
                  <c:v>281</c:v>
                </c:pt>
                <c:pt idx="172">
                  <c:v>342</c:v>
                </c:pt>
                <c:pt idx="173">
                  <c:v>292</c:v>
                </c:pt>
                <c:pt idx="174">
                  <c:v>412</c:v>
                </c:pt>
                <c:pt idx="175">
                  <c:v>155</c:v>
                </c:pt>
                <c:pt idx="176">
                  <c:v>47</c:v>
                </c:pt>
                <c:pt idx="177">
                  <c:v>305</c:v>
                </c:pt>
                <c:pt idx="178">
                  <c:v>5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93-4C53-BEF6-F74E1133C6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C$244:$C$427</c:f>
              <c:numCache>
                <c:formatCode>General</c:formatCode>
                <c:ptCount val="18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493-4C53-BEF6-F74E1133C63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D$244:$D$427</c:f>
              <c:numCache>
                <c:formatCode>General</c:formatCode>
                <c:ptCount val="184"/>
                <c:pt idx="73">
                  <c:v>0</c:v>
                </c:pt>
                <c:pt idx="153">
                  <c:v>55</c:v>
                </c:pt>
                <c:pt idx="154">
                  <c:v>57</c:v>
                </c:pt>
                <c:pt idx="155">
                  <c:v>60</c:v>
                </c:pt>
                <c:pt idx="156">
                  <c:v>62</c:v>
                </c:pt>
                <c:pt idx="157">
                  <c:v>64</c:v>
                </c:pt>
                <c:pt idx="158">
                  <c:v>67</c:v>
                </c:pt>
                <c:pt idx="159">
                  <c:v>69</c:v>
                </c:pt>
                <c:pt idx="160">
                  <c:v>72</c:v>
                </c:pt>
                <c:pt idx="161">
                  <c:v>74</c:v>
                </c:pt>
                <c:pt idx="162">
                  <c:v>77</c:v>
                </c:pt>
                <c:pt idx="163">
                  <c:v>80</c:v>
                </c:pt>
                <c:pt idx="164">
                  <c:v>83</c:v>
                </c:pt>
                <c:pt idx="165">
                  <c:v>86</c:v>
                </c:pt>
                <c:pt idx="166">
                  <c:v>89</c:v>
                </c:pt>
                <c:pt idx="167">
                  <c:v>93</c:v>
                </c:pt>
                <c:pt idx="168">
                  <c:v>96</c:v>
                </c:pt>
                <c:pt idx="169">
                  <c:v>99</c:v>
                </c:pt>
                <c:pt idx="170">
                  <c:v>103</c:v>
                </c:pt>
                <c:pt idx="171">
                  <c:v>107</c:v>
                </c:pt>
                <c:pt idx="172">
                  <c:v>111</c:v>
                </c:pt>
                <c:pt idx="173">
                  <c:v>115</c:v>
                </c:pt>
                <c:pt idx="174">
                  <c:v>119</c:v>
                </c:pt>
                <c:pt idx="175">
                  <c:v>123</c:v>
                </c:pt>
                <c:pt idx="176">
                  <c:v>127</c:v>
                </c:pt>
                <c:pt idx="177">
                  <c:v>132</c:v>
                </c:pt>
                <c:pt idx="178">
                  <c:v>137</c:v>
                </c:pt>
                <c:pt idx="179">
                  <c:v>142</c:v>
                </c:pt>
                <c:pt idx="180">
                  <c:v>147</c:v>
                </c:pt>
                <c:pt idx="181">
                  <c:v>152</c:v>
                </c:pt>
                <c:pt idx="182">
                  <c:v>157</c:v>
                </c:pt>
                <c:pt idx="183">
                  <c:v>1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493-4C53-BEF6-F74E1133C63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E$244:$E$427</c:f>
              <c:numCache>
                <c:formatCode>General</c:formatCode>
                <c:ptCount val="184"/>
                <c:pt idx="153">
                  <c:v>57</c:v>
                </c:pt>
                <c:pt idx="154">
                  <c:v>61</c:v>
                </c:pt>
                <c:pt idx="155">
                  <c:v>64</c:v>
                </c:pt>
                <c:pt idx="156">
                  <c:v>66</c:v>
                </c:pt>
                <c:pt idx="157">
                  <c:v>70</c:v>
                </c:pt>
                <c:pt idx="158">
                  <c:v>74</c:v>
                </c:pt>
                <c:pt idx="159">
                  <c:v>78</c:v>
                </c:pt>
                <c:pt idx="160">
                  <c:v>82</c:v>
                </c:pt>
                <c:pt idx="161">
                  <c:v>86</c:v>
                </c:pt>
                <c:pt idx="162">
                  <c:v>90</c:v>
                </c:pt>
                <c:pt idx="163">
                  <c:v>95</c:v>
                </c:pt>
                <c:pt idx="164">
                  <c:v>100</c:v>
                </c:pt>
                <c:pt idx="165">
                  <c:v>105</c:v>
                </c:pt>
                <c:pt idx="166">
                  <c:v>111</c:v>
                </c:pt>
                <c:pt idx="167">
                  <c:v>116</c:v>
                </c:pt>
                <c:pt idx="168">
                  <c:v>122</c:v>
                </c:pt>
                <c:pt idx="169">
                  <c:v>128</c:v>
                </c:pt>
                <c:pt idx="170">
                  <c:v>135</c:v>
                </c:pt>
                <c:pt idx="171">
                  <c:v>142</c:v>
                </c:pt>
                <c:pt idx="172">
                  <c:v>149</c:v>
                </c:pt>
                <c:pt idx="173">
                  <c:v>157</c:v>
                </c:pt>
                <c:pt idx="174">
                  <c:v>165</c:v>
                </c:pt>
                <c:pt idx="175">
                  <c:v>173</c:v>
                </c:pt>
                <c:pt idx="176">
                  <c:v>182</c:v>
                </c:pt>
                <c:pt idx="177">
                  <c:v>191</c:v>
                </c:pt>
                <c:pt idx="178">
                  <c:v>201</c:v>
                </c:pt>
                <c:pt idx="179">
                  <c:v>211</c:v>
                </c:pt>
                <c:pt idx="180">
                  <c:v>222</c:v>
                </c:pt>
                <c:pt idx="181">
                  <c:v>233</c:v>
                </c:pt>
                <c:pt idx="182">
                  <c:v>244</c:v>
                </c:pt>
                <c:pt idx="183">
                  <c:v>2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493-4C53-BEF6-F74E1133C637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F$244:$F$427</c:f>
              <c:numCache>
                <c:formatCode>General</c:formatCode>
                <c:ptCount val="184"/>
                <c:pt idx="153">
                  <c:v>59</c:v>
                </c:pt>
                <c:pt idx="154">
                  <c:v>64</c:v>
                </c:pt>
                <c:pt idx="155">
                  <c:v>68</c:v>
                </c:pt>
                <c:pt idx="156">
                  <c:v>71</c:v>
                </c:pt>
                <c:pt idx="157">
                  <c:v>75</c:v>
                </c:pt>
                <c:pt idx="158">
                  <c:v>81</c:v>
                </c:pt>
                <c:pt idx="159">
                  <c:v>87</c:v>
                </c:pt>
                <c:pt idx="160">
                  <c:v>93</c:v>
                </c:pt>
                <c:pt idx="161">
                  <c:v>99</c:v>
                </c:pt>
                <c:pt idx="162">
                  <c:v>105</c:v>
                </c:pt>
                <c:pt idx="163">
                  <c:v>111</c:v>
                </c:pt>
                <c:pt idx="164">
                  <c:v>119</c:v>
                </c:pt>
                <c:pt idx="165">
                  <c:v>127</c:v>
                </c:pt>
                <c:pt idx="166">
                  <c:v>136</c:v>
                </c:pt>
                <c:pt idx="167">
                  <c:v>144</c:v>
                </c:pt>
                <c:pt idx="168">
                  <c:v>153</c:v>
                </c:pt>
                <c:pt idx="169">
                  <c:v>163</c:v>
                </c:pt>
                <c:pt idx="170">
                  <c:v>174</c:v>
                </c:pt>
                <c:pt idx="171">
                  <c:v>186</c:v>
                </c:pt>
                <c:pt idx="172">
                  <c:v>198</c:v>
                </c:pt>
                <c:pt idx="173">
                  <c:v>210</c:v>
                </c:pt>
                <c:pt idx="174">
                  <c:v>224</c:v>
                </c:pt>
                <c:pt idx="175">
                  <c:v>238</c:v>
                </c:pt>
                <c:pt idx="176">
                  <c:v>254</c:v>
                </c:pt>
                <c:pt idx="177">
                  <c:v>270</c:v>
                </c:pt>
                <c:pt idx="178">
                  <c:v>288</c:v>
                </c:pt>
                <c:pt idx="179">
                  <c:v>306</c:v>
                </c:pt>
                <c:pt idx="180">
                  <c:v>326</c:v>
                </c:pt>
                <c:pt idx="181">
                  <c:v>347</c:v>
                </c:pt>
                <c:pt idx="182">
                  <c:v>369</c:v>
                </c:pt>
                <c:pt idx="183">
                  <c:v>3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493-4C53-BEF6-F74E1133C637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4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G$244:$G$427</c:f>
              <c:numCache>
                <c:formatCode>General</c:formatCode>
                <c:ptCount val="184"/>
                <c:pt idx="153">
                  <c:v>59</c:v>
                </c:pt>
                <c:pt idx="154">
                  <c:v>64</c:v>
                </c:pt>
                <c:pt idx="155">
                  <c:v>68</c:v>
                </c:pt>
                <c:pt idx="156">
                  <c:v>71</c:v>
                </c:pt>
                <c:pt idx="157">
                  <c:v>75</c:v>
                </c:pt>
                <c:pt idx="158">
                  <c:v>81</c:v>
                </c:pt>
                <c:pt idx="159">
                  <c:v>87</c:v>
                </c:pt>
                <c:pt idx="160">
                  <c:v>93</c:v>
                </c:pt>
                <c:pt idx="161">
                  <c:v>99</c:v>
                </c:pt>
                <c:pt idx="162">
                  <c:v>105</c:v>
                </c:pt>
                <c:pt idx="163">
                  <c:v>111</c:v>
                </c:pt>
                <c:pt idx="164">
                  <c:v>127</c:v>
                </c:pt>
                <c:pt idx="165">
                  <c:v>140</c:v>
                </c:pt>
                <c:pt idx="166">
                  <c:v>152</c:v>
                </c:pt>
                <c:pt idx="167">
                  <c:v>163</c:v>
                </c:pt>
                <c:pt idx="168">
                  <c:v>177</c:v>
                </c:pt>
                <c:pt idx="169">
                  <c:v>194</c:v>
                </c:pt>
                <c:pt idx="170">
                  <c:v>213</c:v>
                </c:pt>
                <c:pt idx="171">
                  <c:v>234</c:v>
                </c:pt>
                <c:pt idx="172">
                  <c:v>254</c:v>
                </c:pt>
                <c:pt idx="173">
                  <c:v>276</c:v>
                </c:pt>
                <c:pt idx="174">
                  <c:v>301</c:v>
                </c:pt>
                <c:pt idx="175">
                  <c:v>329</c:v>
                </c:pt>
                <c:pt idx="176">
                  <c:v>360</c:v>
                </c:pt>
                <c:pt idx="177">
                  <c:v>393</c:v>
                </c:pt>
                <c:pt idx="178">
                  <c:v>428</c:v>
                </c:pt>
                <c:pt idx="179">
                  <c:v>466</c:v>
                </c:pt>
                <c:pt idx="180">
                  <c:v>508</c:v>
                </c:pt>
                <c:pt idx="181">
                  <c:v>555</c:v>
                </c:pt>
                <c:pt idx="182">
                  <c:v>605</c:v>
                </c:pt>
                <c:pt idx="183">
                  <c:v>6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493-4C53-BEF6-F74E1133C6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H$122:$H$274</c:f>
              <c:numCache>
                <c:formatCode>0</c:formatCode>
                <c:ptCount val="15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2F-4BD0-9093-BC5C0FF99C02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I$122:$I$274</c:f>
              <c:numCache>
                <c:formatCode>0</c:formatCode>
                <c:ptCount val="153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12F-4BD0-9093-BC5C0FF99C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B$122:$B$274</c:f>
              <c:numCache>
                <c:formatCode>0</c:formatCode>
                <c:ptCount val="153"/>
                <c:pt idx="0">
                  <c:v>35.117651903267962</c:v>
                </c:pt>
                <c:pt idx="1">
                  <c:v>34.80687622270807</c:v>
                </c:pt>
                <c:pt idx="2">
                  <c:v>40.400838472786155</c:v>
                </c:pt>
                <c:pt idx="3">
                  <c:v>35.894591104667697</c:v>
                </c:pt>
                <c:pt idx="4">
                  <c:v>37.137693826907274</c:v>
                </c:pt>
                <c:pt idx="5">
                  <c:v>36.516142465787482</c:v>
                </c:pt>
                <c:pt idx="6">
                  <c:v>34.185324861588278</c:v>
                </c:pt>
                <c:pt idx="7">
                  <c:v>38.225408708866894</c:v>
                </c:pt>
                <c:pt idx="8">
                  <c:v>37.603857347747109</c:v>
                </c:pt>
                <c:pt idx="9">
                  <c:v>28.280586930950303</c:v>
                </c:pt>
                <c:pt idx="10">
                  <c:v>28.125199090670357</c:v>
                </c:pt>
                <c:pt idx="11">
                  <c:v>26.415932847590941</c:v>
                </c:pt>
                <c:pt idx="12">
                  <c:v>26.105157167031052</c:v>
                </c:pt>
                <c:pt idx="13">
                  <c:v>25.483605805911264</c:v>
                </c:pt>
                <c:pt idx="14">
                  <c:v>20.200419236393078</c:v>
                </c:pt>
                <c:pt idx="15">
                  <c:v>17.714213791913927</c:v>
                </c:pt>
                <c:pt idx="16">
                  <c:v>17.248050271074089</c:v>
                </c:pt>
                <c:pt idx="17">
                  <c:v>13.363354264075419</c:v>
                </c:pt>
                <c:pt idx="18">
                  <c:v>13.052578583515526</c:v>
                </c:pt>
                <c:pt idx="19">
                  <c:v>13.207966423795471</c:v>
                </c:pt>
                <c:pt idx="20">
                  <c:v>11.343312340436112</c:v>
                </c:pt>
                <c:pt idx="21">
                  <c:v>8.7017190556770174</c:v>
                </c:pt>
                <c:pt idx="22">
                  <c:v>7.1478406528775498</c:v>
                </c:pt>
                <c:pt idx="23">
                  <c:v>4.9724108889582954</c:v>
                </c:pt>
                <c:pt idx="24">
                  <c:v>4.0400838472786154</c:v>
                </c:pt>
                <c:pt idx="25">
                  <c:v>3.4185324861588278</c:v>
                </c:pt>
                <c:pt idx="26">
                  <c:v>3.2631446458788815</c:v>
                </c:pt>
                <c:pt idx="27">
                  <c:v>2.9523689653189882</c:v>
                </c:pt>
                <c:pt idx="28">
                  <c:v>2.330817604199201</c:v>
                </c:pt>
                <c:pt idx="29">
                  <c:v>2.0200419236393077</c:v>
                </c:pt>
                <c:pt idx="30">
                  <c:v>2.330817604199201</c:v>
                </c:pt>
                <c:pt idx="31">
                  <c:v>2.9523689653189882</c:v>
                </c:pt>
                <c:pt idx="32">
                  <c:v>3.4185324861588278</c:v>
                </c:pt>
                <c:pt idx="33">
                  <c:v>3.7293081667187216</c:v>
                </c:pt>
                <c:pt idx="34">
                  <c:v>3.5739203264387749</c:v>
                </c:pt>
                <c:pt idx="35">
                  <c:v>3.4185324861588278</c:v>
                </c:pt>
                <c:pt idx="36">
                  <c:v>3.7293081667187216</c:v>
                </c:pt>
                <c:pt idx="37">
                  <c:v>3.7293081667187216</c:v>
                </c:pt>
                <c:pt idx="38">
                  <c:v>4.5062473681184549</c:v>
                </c:pt>
                <c:pt idx="39">
                  <c:v>4.6616352083984021</c:v>
                </c:pt>
                <c:pt idx="40">
                  <c:v>4.3508595278385087</c:v>
                </c:pt>
                <c:pt idx="41">
                  <c:v>5.4385744097981359</c:v>
                </c:pt>
                <c:pt idx="42">
                  <c:v>6.8370649723176555</c:v>
                </c:pt>
                <c:pt idx="43">
                  <c:v>7.1478406528775498</c:v>
                </c:pt>
                <c:pt idx="44">
                  <c:v>7.303228493157496</c:v>
                </c:pt>
                <c:pt idx="45">
                  <c:v>6.8370649723176555</c:v>
                </c:pt>
                <c:pt idx="46">
                  <c:v>6.8370649723176555</c:v>
                </c:pt>
                <c:pt idx="47">
                  <c:v>6.9924528125976035</c:v>
                </c:pt>
                <c:pt idx="48">
                  <c:v>7.303228493157496</c:v>
                </c:pt>
                <c:pt idx="49">
                  <c:v>6.3709014514778159</c:v>
                </c:pt>
                <c:pt idx="50">
                  <c:v>7.303228493157496</c:v>
                </c:pt>
                <c:pt idx="51">
                  <c:v>7.7693920139973374</c:v>
                </c:pt>
                <c:pt idx="52">
                  <c:v>8.0801676945572307</c:v>
                </c:pt>
                <c:pt idx="53">
                  <c:v>7.7693920139973374</c:v>
                </c:pt>
                <c:pt idx="54">
                  <c:v>7.9247798542772836</c:v>
                </c:pt>
                <c:pt idx="55">
                  <c:v>7.1478406528775498</c:v>
                </c:pt>
                <c:pt idx="56">
                  <c:v>9.1678825765168579</c:v>
                </c:pt>
                <c:pt idx="57">
                  <c:v>9.0124947362369099</c:v>
                </c:pt>
                <c:pt idx="58">
                  <c:v>9.0124947362369099</c:v>
                </c:pt>
                <c:pt idx="59">
                  <c:v>8.8571068959569637</c:v>
                </c:pt>
                <c:pt idx="60">
                  <c:v>8.7017190556770174</c:v>
                </c:pt>
                <c:pt idx="61">
                  <c:v>8.5463312153970694</c:v>
                </c:pt>
                <c:pt idx="62">
                  <c:v>9.0124947362369099</c:v>
                </c:pt>
                <c:pt idx="63">
                  <c:v>7.7693920139973374</c:v>
                </c:pt>
                <c:pt idx="64">
                  <c:v>8.3909433751171232</c:v>
                </c:pt>
                <c:pt idx="65">
                  <c:v>9.9448217779165908</c:v>
                </c:pt>
                <c:pt idx="66">
                  <c:v>10.877148819596272</c:v>
                </c:pt>
                <c:pt idx="67">
                  <c:v>11.498700180716058</c:v>
                </c:pt>
                <c:pt idx="68">
                  <c:v>11.809475861275953</c:v>
                </c:pt>
                <c:pt idx="69">
                  <c:v>12.275639382115791</c:v>
                </c:pt>
                <c:pt idx="70">
                  <c:v>14.2956813057551</c:v>
                </c:pt>
                <c:pt idx="71">
                  <c:v>15.228008347434779</c:v>
                </c:pt>
                <c:pt idx="72">
                  <c:v>14.451069146035048</c:v>
                </c:pt>
                <c:pt idx="73">
                  <c:v>14.606456986314992</c:v>
                </c:pt>
                <c:pt idx="74">
                  <c:v>15.538784027994675</c:v>
                </c:pt>
                <c:pt idx="75">
                  <c:v>15.383396187714727</c:v>
                </c:pt>
                <c:pt idx="76">
                  <c:v>15.849559708554567</c:v>
                </c:pt>
                <c:pt idx="77">
                  <c:v>17.558825951633981</c:v>
                </c:pt>
                <c:pt idx="78">
                  <c:v>17.558825951633981</c:v>
                </c:pt>
                <c:pt idx="79">
                  <c:v>17.558825951633981</c:v>
                </c:pt>
                <c:pt idx="80">
                  <c:v>17.869601632193874</c:v>
                </c:pt>
                <c:pt idx="81">
                  <c:v>17.092662430794139</c:v>
                </c:pt>
                <c:pt idx="82">
                  <c:v>17.714213791913927</c:v>
                </c:pt>
                <c:pt idx="83">
                  <c:v>17.714213791913927</c:v>
                </c:pt>
                <c:pt idx="84">
                  <c:v>16.004947548834515</c:v>
                </c:pt>
                <c:pt idx="85">
                  <c:v>14.76184482659494</c:v>
                </c:pt>
                <c:pt idx="86">
                  <c:v>14.917232666874886</c:v>
                </c:pt>
                <c:pt idx="87">
                  <c:v>14.451069146035048</c:v>
                </c:pt>
                <c:pt idx="88">
                  <c:v>14.2956813057551</c:v>
                </c:pt>
                <c:pt idx="89">
                  <c:v>14.140293465475152</c:v>
                </c:pt>
                <c:pt idx="90">
                  <c:v>15.228008347434779</c:v>
                </c:pt>
                <c:pt idx="91">
                  <c:v>16.6264989099543</c:v>
                </c:pt>
                <c:pt idx="92">
                  <c:v>17.869601632193874</c:v>
                </c:pt>
                <c:pt idx="93">
                  <c:v>19.423480034993339</c:v>
                </c:pt>
                <c:pt idx="94">
                  <c:v>20.51119491695297</c:v>
                </c:pt>
                <c:pt idx="95">
                  <c:v>21.90968547947249</c:v>
                </c:pt>
                <c:pt idx="96">
                  <c:v>22.997400361432117</c:v>
                </c:pt>
                <c:pt idx="97">
                  <c:v>21.754297639192544</c:v>
                </c:pt>
                <c:pt idx="98">
                  <c:v>24.24050308367169</c:v>
                </c:pt>
                <c:pt idx="99">
                  <c:v>24.706666604511533</c:v>
                </c:pt>
                <c:pt idx="100">
                  <c:v>24.24050308367169</c:v>
                </c:pt>
                <c:pt idx="101">
                  <c:v>25.794381486471156</c:v>
                </c:pt>
                <c:pt idx="102">
                  <c:v>25.328217965631318</c:v>
                </c:pt>
                <c:pt idx="103">
                  <c:v>24.395890923951637</c:v>
                </c:pt>
                <c:pt idx="104">
                  <c:v>25.794381486471156</c:v>
                </c:pt>
                <c:pt idx="105">
                  <c:v>23.774339562831848</c:v>
                </c:pt>
                <c:pt idx="106">
                  <c:v>23.152788201712063</c:v>
                </c:pt>
                <c:pt idx="107">
                  <c:v>24.706666604511533</c:v>
                </c:pt>
                <c:pt idx="108">
                  <c:v>24.395890923951637</c:v>
                </c:pt>
                <c:pt idx="109">
                  <c:v>23.929727403111798</c:v>
                </c:pt>
                <c:pt idx="110">
                  <c:v>24.24050308367169</c:v>
                </c:pt>
                <c:pt idx="111">
                  <c:v>25.172830125351371</c:v>
                </c:pt>
                <c:pt idx="112">
                  <c:v>25.328217965631318</c:v>
                </c:pt>
                <c:pt idx="113">
                  <c:v>27.503647729550572</c:v>
                </c:pt>
                <c:pt idx="114">
                  <c:v>26.571320687870895</c:v>
                </c:pt>
                <c:pt idx="115">
                  <c:v>27.503647729550572</c:v>
                </c:pt>
                <c:pt idx="116">
                  <c:v>31.388343736549238</c:v>
                </c:pt>
                <c:pt idx="117">
                  <c:v>32.165282937948973</c:v>
                </c:pt>
                <c:pt idx="118">
                  <c:v>36.671530306067432</c:v>
                </c:pt>
                <c:pt idx="119">
                  <c:v>33.719161340748443</c:v>
                </c:pt>
                <c:pt idx="120">
                  <c:v>36.360754625507539</c:v>
                </c:pt>
                <c:pt idx="121">
                  <c:v>42.887043917265295</c:v>
                </c:pt>
                <c:pt idx="122">
                  <c:v>50.034884570142843</c:v>
                </c:pt>
                <c:pt idx="123">
                  <c:v>50.967211611822528</c:v>
                </c:pt>
                <c:pt idx="124">
                  <c:v>51.588762972942313</c:v>
                </c:pt>
                <c:pt idx="125">
                  <c:v>51.899538653502205</c:v>
                </c:pt>
                <c:pt idx="126">
                  <c:v>67.749098362056785</c:v>
                </c:pt>
                <c:pt idx="127">
                  <c:v>71.633794369055451</c:v>
                </c:pt>
                <c:pt idx="128">
                  <c:v>76.295429577453845</c:v>
                </c:pt>
                <c:pt idx="129">
                  <c:v>79.713962063612684</c:v>
                </c:pt>
                <c:pt idx="130">
                  <c:v>76.450817417733788</c:v>
                </c:pt>
                <c:pt idx="131">
                  <c:v>76.60620525801373</c:v>
                </c:pt>
                <c:pt idx="132">
                  <c:v>86.395639195650389</c:v>
                </c:pt>
                <c:pt idx="133">
                  <c:v>95.252746091607349</c:v>
                </c:pt>
                <c:pt idx="134">
                  <c:v>111.25769364044186</c:v>
                </c:pt>
                <c:pt idx="135">
                  <c:v>114.83161396688064</c:v>
                </c:pt>
                <c:pt idx="136">
                  <c:v>127.41802902955632</c:v>
                </c:pt>
                <c:pt idx="137">
                  <c:v>137.052075126913</c:v>
                </c:pt>
                <c:pt idx="138">
                  <c:v>141.09215897419165</c:v>
                </c:pt>
                <c:pt idx="139">
                  <c:v>150.72620507154832</c:v>
                </c:pt>
                <c:pt idx="140">
                  <c:v>166.88654046066279</c:v>
                </c:pt>
                <c:pt idx="141">
                  <c:v>192.21475842629411</c:v>
                </c:pt>
                <c:pt idx="142">
                  <c:v>218.63069127388505</c:v>
                </c:pt>
                <c:pt idx="143">
                  <c:v>254.21450669799285</c:v>
                </c:pt>
                <c:pt idx="144">
                  <c:v>265.86859471898885</c:v>
                </c:pt>
                <c:pt idx="145">
                  <c:v>266.33475823982872</c:v>
                </c:pt>
                <c:pt idx="146">
                  <c:v>284.98129907342229</c:v>
                </c:pt>
                <c:pt idx="147">
                  <c:v>326.469852428168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12F-4BD0-9093-BC5C0FF99C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C$122:$C$274</c:f>
              <c:numCache>
                <c:formatCode>General</c:formatCode>
                <c:ptCount val="15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12F-4BD0-9093-BC5C0FF99C0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1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D$122:$D$274</c:f>
              <c:numCache>
                <c:formatCode>General</c:formatCode>
                <c:ptCount val="153"/>
                <c:pt idx="122">
                  <c:v>43.042431757545245</c:v>
                </c:pt>
                <c:pt idx="123">
                  <c:v>44.751698000624657</c:v>
                </c:pt>
                <c:pt idx="124">
                  <c:v>46.460964243704076</c:v>
                </c:pt>
                <c:pt idx="125">
                  <c:v>48.325618327063431</c:v>
                </c:pt>
                <c:pt idx="126">
                  <c:v>50.034884570142843</c:v>
                </c:pt>
                <c:pt idx="127">
                  <c:v>51.899538653502205</c:v>
                </c:pt>
                <c:pt idx="128">
                  <c:v>53.919580577141524</c:v>
                </c:pt>
                <c:pt idx="129">
                  <c:v>56.095010341060771</c:v>
                </c:pt>
                <c:pt idx="130">
                  <c:v>58.270440104980025</c:v>
                </c:pt>
                <c:pt idx="131">
                  <c:v>60.44586986889928</c:v>
                </c:pt>
                <c:pt idx="132">
                  <c:v>62.621299632818534</c:v>
                </c:pt>
                <c:pt idx="133">
                  <c:v>65.107505077297688</c:v>
                </c:pt>
                <c:pt idx="134">
                  <c:v>67.593710521776828</c:v>
                </c:pt>
                <c:pt idx="135">
                  <c:v>70.235303806535924</c:v>
                </c:pt>
                <c:pt idx="136">
                  <c:v>72.721509251015078</c:v>
                </c:pt>
                <c:pt idx="137">
                  <c:v>75.363102535774161</c:v>
                </c:pt>
                <c:pt idx="138">
                  <c:v>78.160083660813214</c:v>
                </c:pt>
                <c:pt idx="139">
                  <c:v>81.112452626132196</c:v>
                </c:pt>
                <c:pt idx="140">
                  <c:v>84.064821591451178</c:v>
                </c:pt>
                <c:pt idx="141">
                  <c:v>87.172578397050117</c:v>
                </c:pt>
                <c:pt idx="142">
                  <c:v>90.280335202649056</c:v>
                </c:pt>
                <c:pt idx="143">
                  <c:v>93.543479848527937</c:v>
                </c:pt>
                <c:pt idx="144">
                  <c:v>96.962012334686762</c:v>
                </c:pt>
                <c:pt idx="145">
                  <c:v>100.3805448208456</c:v>
                </c:pt>
                <c:pt idx="146">
                  <c:v>103.95446514728437</c:v>
                </c:pt>
                <c:pt idx="147">
                  <c:v>107.68377331400309</c:v>
                </c:pt>
                <c:pt idx="148">
                  <c:v>111.56846932100176</c:v>
                </c:pt>
                <c:pt idx="149">
                  <c:v>115.60855316828038</c:v>
                </c:pt>
                <c:pt idx="150">
                  <c:v>119.80402485583895</c:v>
                </c:pt>
                <c:pt idx="151">
                  <c:v>123.99949654339748</c:v>
                </c:pt>
                <c:pt idx="152">
                  <c:v>128.505743911515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12F-4BD0-9093-BC5C0FF99C0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E$122:$E$274</c:f>
              <c:numCache>
                <c:formatCode>General</c:formatCode>
                <c:ptCount val="153"/>
                <c:pt idx="122">
                  <c:v>43.353207438105137</c:v>
                </c:pt>
                <c:pt idx="123">
                  <c:v>45.528637202024392</c:v>
                </c:pt>
                <c:pt idx="124">
                  <c:v>47.704066965943646</c:v>
                </c:pt>
                <c:pt idx="125">
                  <c:v>50.034884570142843</c:v>
                </c:pt>
                <c:pt idx="126">
                  <c:v>52.521090014621997</c:v>
                </c:pt>
                <c:pt idx="127">
                  <c:v>55.318071139661036</c:v>
                </c:pt>
                <c:pt idx="128">
                  <c:v>58.425827945259968</c:v>
                </c:pt>
                <c:pt idx="129">
                  <c:v>61.533584750858907</c:v>
                </c:pt>
                <c:pt idx="130">
                  <c:v>64.641341556457846</c:v>
                </c:pt>
                <c:pt idx="131">
                  <c:v>67.904486202336727</c:v>
                </c:pt>
                <c:pt idx="132">
                  <c:v>71.478406528775494</c:v>
                </c:pt>
                <c:pt idx="133">
                  <c:v>75.207714695494218</c:v>
                </c:pt>
                <c:pt idx="134">
                  <c:v>79.092410702492884</c:v>
                </c:pt>
                <c:pt idx="135">
                  <c:v>83.28788239005145</c:v>
                </c:pt>
                <c:pt idx="136">
                  <c:v>87.483354077610016</c:v>
                </c:pt>
                <c:pt idx="137">
                  <c:v>91.989601445728468</c:v>
                </c:pt>
                <c:pt idx="138">
                  <c:v>96.806624494406819</c:v>
                </c:pt>
                <c:pt idx="139">
                  <c:v>101.77903538336511</c:v>
                </c:pt>
                <c:pt idx="140">
                  <c:v>107.06222195288331</c:v>
                </c:pt>
                <c:pt idx="141">
                  <c:v>112.65618420296138</c:v>
                </c:pt>
                <c:pt idx="142">
                  <c:v>118.40553429331941</c:v>
                </c:pt>
                <c:pt idx="143">
                  <c:v>124.46566006423733</c:v>
                </c:pt>
                <c:pt idx="144">
                  <c:v>130.83656151571515</c:v>
                </c:pt>
                <c:pt idx="145">
                  <c:v>137.51823864775287</c:v>
                </c:pt>
                <c:pt idx="146">
                  <c:v>144.51069146035044</c:v>
                </c:pt>
                <c:pt idx="147">
                  <c:v>151.81391995350796</c:v>
                </c:pt>
                <c:pt idx="148">
                  <c:v>159.42792412722537</c:v>
                </c:pt>
                <c:pt idx="149">
                  <c:v>167.50809182178259</c:v>
                </c:pt>
                <c:pt idx="150">
                  <c:v>175.89903519689972</c:v>
                </c:pt>
                <c:pt idx="151">
                  <c:v>184.75614209285666</c:v>
                </c:pt>
                <c:pt idx="152">
                  <c:v>194.079412509653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12F-4BD0-9093-BC5C0FF99C0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F$122:$F$274</c:f>
              <c:numCache>
                <c:formatCode>General</c:formatCode>
                <c:ptCount val="153"/>
                <c:pt idx="122">
                  <c:v>43.66398311866503</c:v>
                </c:pt>
                <c:pt idx="123">
                  <c:v>46.150188563144177</c:v>
                </c:pt>
                <c:pt idx="124">
                  <c:v>48.791781847903273</c:v>
                </c:pt>
                <c:pt idx="125">
                  <c:v>51.744150813222262</c:v>
                </c:pt>
                <c:pt idx="126">
                  <c:v>55.007295459101144</c:v>
                </c:pt>
                <c:pt idx="127">
                  <c:v>58.736603625819868</c:v>
                </c:pt>
                <c:pt idx="128">
                  <c:v>63.087463153658376</c:v>
                </c:pt>
                <c:pt idx="129">
                  <c:v>67.282934841216928</c:v>
                </c:pt>
                <c:pt idx="130">
                  <c:v>71.633794369055451</c:v>
                </c:pt>
                <c:pt idx="131">
                  <c:v>76.295429577453845</c:v>
                </c:pt>
                <c:pt idx="132">
                  <c:v>81.267840466412139</c:v>
                </c:pt>
                <c:pt idx="133">
                  <c:v>86.706414876210275</c:v>
                </c:pt>
                <c:pt idx="134">
                  <c:v>92.455764966568296</c:v>
                </c:pt>
                <c:pt idx="135">
                  <c:v>98.515890737486217</c:v>
                </c:pt>
                <c:pt idx="136">
                  <c:v>104.88679218896404</c:v>
                </c:pt>
                <c:pt idx="137">
                  <c:v>111.7238571612817</c:v>
                </c:pt>
                <c:pt idx="138">
                  <c:v>119.0270856544392</c:v>
                </c:pt>
                <c:pt idx="139">
                  <c:v>126.95186550871647</c:v>
                </c:pt>
                <c:pt idx="140">
                  <c:v>135.18742104355366</c:v>
                </c:pt>
                <c:pt idx="141">
                  <c:v>144.04452793951063</c:v>
                </c:pt>
                <c:pt idx="142">
                  <c:v>153.36779835630742</c:v>
                </c:pt>
                <c:pt idx="143">
                  <c:v>163.31262013422401</c:v>
                </c:pt>
                <c:pt idx="144">
                  <c:v>173.87899327326039</c:v>
                </c:pt>
                <c:pt idx="145">
                  <c:v>185.22230561369651</c:v>
                </c:pt>
                <c:pt idx="146">
                  <c:v>197.18716931525242</c:v>
                </c:pt>
                <c:pt idx="147">
                  <c:v>209.92897221820806</c:v>
                </c:pt>
                <c:pt idx="148">
                  <c:v>223.29232648228347</c:v>
                </c:pt>
                <c:pt idx="149">
                  <c:v>237.58800778803857</c:v>
                </c:pt>
                <c:pt idx="150">
                  <c:v>252.81601613547332</c:v>
                </c:pt>
                <c:pt idx="151">
                  <c:v>269.13173936486771</c:v>
                </c:pt>
                <c:pt idx="152">
                  <c:v>286.379789635941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912F-4BD0-9093-BC5C0FF99C0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4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74</c:f>
              <c:numCache>
                <c:formatCode>m/d/yyyy</c:formatCode>
                <c:ptCount val="15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</c:numCache>
            </c:numRef>
          </c:cat>
          <c:val>
            <c:numRef>
              <c:f>Sheet1!$G$122:$G$274</c:f>
              <c:numCache>
                <c:formatCode>General</c:formatCode>
                <c:ptCount val="153"/>
                <c:pt idx="122">
                  <c:v>43.66398311866503</c:v>
                </c:pt>
                <c:pt idx="123">
                  <c:v>46.150188563144177</c:v>
                </c:pt>
                <c:pt idx="124">
                  <c:v>48.791781847903273</c:v>
                </c:pt>
                <c:pt idx="125">
                  <c:v>51.744150813222262</c:v>
                </c:pt>
                <c:pt idx="126">
                  <c:v>55.007295459101144</c:v>
                </c:pt>
                <c:pt idx="127">
                  <c:v>58.736603625819868</c:v>
                </c:pt>
                <c:pt idx="128">
                  <c:v>63.087463153658376</c:v>
                </c:pt>
                <c:pt idx="129">
                  <c:v>67.282934841216928</c:v>
                </c:pt>
                <c:pt idx="130">
                  <c:v>71.633794369055451</c:v>
                </c:pt>
                <c:pt idx="131">
                  <c:v>76.295429577453845</c:v>
                </c:pt>
                <c:pt idx="132">
                  <c:v>81.267840466412139</c:v>
                </c:pt>
                <c:pt idx="133">
                  <c:v>87.638741917889959</c:v>
                </c:pt>
                <c:pt idx="134">
                  <c:v>94.94197041104745</c:v>
                </c:pt>
                <c:pt idx="135">
                  <c:v>103.02213810560467</c:v>
                </c:pt>
                <c:pt idx="136">
                  <c:v>111.7238571612817</c:v>
                </c:pt>
                <c:pt idx="137">
                  <c:v>121.51329109891834</c:v>
                </c:pt>
                <c:pt idx="138">
                  <c:v>132.70121559907452</c:v>
                </c:pt>
                <c:pt idx="139">
                  <c:v>145.44301850203016</c:v>
                </c:pt>
                <c:pt idx="140">
                  <c:v>158.80637276610557</c:v>
                </c:pt>
                <c:pt idx="141">
                  <c:v>173.10205407186066</c:v>
                </c:pt>
                <c:pt idx="142">
                  <c:v>188.4854502595754</c:v>
                </c:pt>
                <c:pt idx="143">
                  <c:v>205.57811269036955</c:v>
                </c:pt>
                <c:pt idx="144">
                  <c:v>224.53542920452301</c:v>
                </c:pt>
                <c:pt idx="145">
                  <c:v>245.20201196175594</c:v>
                </c:pt>
                <c:pt idx="146">
                  <c:v>267.57786096206826</c:v>
                </c:pt>
                <c:pt idx="147">
                  <c:v>291.66297620545998</c:v>
                </c:pt>
                <c:pt idx="148">
                  <c:v>317.92352121277105</c:v>
                </c:pt>
                <c:pt idx="149">
                  <c:v>346.8256595048411</c:v>
                </c:pt>
                <c:pt idx="150">
                  <c:v>378.52477892195026</c:v>
                </c:pt>
                <c:pt idx="151">
                  <c:v>412.86549162381851</c:v>
                </c:pt>
                <c:pt idx="152">
                  <c:v>450.158573291005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912F-4BD0-9093-BC5C0FF99C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B$244:$B$427</c:f>
              <c:numCache>
                <c:formatCode>0</c:formatCode>
                <c:ptCount val="184"/>
                <c:pt idx="0">
                  <c:v>33</c:v>
                </c:pt>
                <c:pt idx="1">
                  <c:v>13</c:v>
                </c:pt>
                <c:pt idx="2">
                  <c:v>54</c:v>
                </c:pt>
                <c:pt idx="3">
                  <c:v>100</c:v>
                </c:pt>
                <c:pt idx="4">
                  <c:v>65</c:v>
                </c:pt>
                <c:pt idx="5">
                  <c:v>56</c:v>
                </c:pt>
                <c:pt idx="6">
                  <c:v>66</c:v>
                </c:pt>
                <c:pt idx="7">
                  <c:v>11</c:v>
                </c:pt>
                <c:pt idx="8">
                  <c:v>20</c:v>
                </c:pt>
                <c:pt idx="9">
                  <c:v>57</c:v>
                </c:pt>
                <c:pt idx="10">
                  <c:v>43</c:v>
                </c:pt>
                <c:pt idx="11">
                  <c:v>43</c:v>
                </c:pt>
                <c:pt idx="12">
                  <c:v>31</c:v>
                </c:pt>
                <c:pt idx="13">
                  <c:v>27</c:v>
                </c:pt>
                <c:pt idx="14">
                  <c:v>9</c:v>
                </c:pt>
                <c:pt idx="15">
                  <c:v>9</c:v>
                </c:pt>
                <c:pt idx="16">
                  <c:v>49</c:v>
                </c:pt>
                <c:pt idx="17">
                  <c:v>42</c:v>
                </c:pt>
                <c:pt idx="18">
                  <c:v>29</c:v>
                </c:pt>
                <c:pt idx="19">
                  <c:v>29</c:v>
                </c:pt>
                <c:pt idx="20">
                  <c:v>25</c:v>
                </c:pt>
                <c:pt idx="21">
                  <c:v>8</c:v>
                </c:pt>
                <c:pt idx="22">
                  <c:v>11</c:v>
                </c:pt>
                <c:pt idx="23">
                  <c:v>42</c:v>
                </c:pt>
                <c:pt idx="24">
                  <c:v>34</c:v>
                </c:pt>
                <c:pt idx="25">
                  <c:v>21</c:v>
                </c:pt>
                <c:pt idx="26">
                  <c:v>25</c:v>
                </c:pt>
                <c:pt idx="27">
                  <c:v>23</c:v>
                </c:pt>
                <c:pt idx="28">
                  <c:v>10</c:v>
                </c:pt>
                <c:pt idx="29">
                  <c:v>1</c:v>
                </c:pt>
                <c:pt idx="30">
                  <c:v>28</c:v>
                </c:pt>
                <c:pt idx="31">
                  <c:v>37</c:v>
                </c:pt>
                <c:pt idx="32">
                  <c:v>17</c:v>
                </c:pt>
                <c:pt idx="33">
                  <c:v>25</c:v>
                </c:pt>
                <c:pt idx="34">
                  <c:v>28</c:v>
                </c:pt>
                <c:pt idx="35">
                  <c:v>5</c:v>
                </c:pt>
                <c:pt idx="36">
                  <c:v>6</c:v>
                </c:pt>
                <c:pt idx="37">
                  <c:v>23</c:v>
                </c:pt>
                <c:pt idx="38">
                  <c:v>24</c:v>
                </c:pt>
                <c:pt idx="39">
                  <c:v>22</c:v>
                </c:pt>
                <c:pt idx="40">
                  <c:v>11</c:v>
                </c:pt>
                <c:pt idx="41">
                  <c:v>17</c:v>
                </c:pt>
                <c:pt idx="42">
                  <c:v>1</c:v>
                </c:pt>
                <c:pt idx="43">
                  <c:v>0</c:v>
                </c:pt>
                <c:pt idx="44">
                  <c:v>11</c:v>
                </c:pt>
                <c:pt idx="45">
                  <c:v>16</c:v>
                </c:pt>
                <c:pt idx="46">
                  <c:v>5</c:v>
                </c:pt>
                <c:pt idx="47">
                  <c:v>6</c:v>
                </c:pt>
                <c:pt idx="48">
                  <c:v>9</c:v>
                </c:pt>
                <c:pt idx="49">
                  <c:v>2</c:v>
                </c:pt>
                <c:pt idx="50">
                  <c:v>0</c:v>
                </c:pt>
                <c:pt idx="51">
                  <c:v>8</c:v>
                </c:pt>
                <c:pt idx="52">
                  <c:v>1</c:v>
                </c:pt>
                <c:pt idx="53">
                  <c:v>3</c:v>
                </c:pt>
                <c:pt idx="54">
                  <c:v>2</c:v>
                </c:pt>
                <c:pt idx="55">
                  <c:v>3</c:v>
                </c:pt>
                <c:pt idx="56">
                  <c:v>1</c:v>
                </c:pt>
                <c:pt idx="57">
                  <c:v>1</c:v>
                </c:pt>
                <c:pt idx="58">
                  <c:v>5</c:v>
                </c:pt>
                <c:pt idx="59">
                  <c:v>16</c:v>
                </c:pt>
                <c:pt idx="60">
                  <c:v>12</c:v>
                </c:pt>
                <c:pt idx="61">
                  <c:v>16</c:v>
                </c:pt>
                <c:pt idx="62">
                  <c:v>21</c:v>
                </c:pt>
                <c:pt idx="63">
                  <c:v>7</c:v>
                </c:pt>
                <c:pt idx="64">
                  <c:v>4</c:v>
                </c:pt>
                <c:pt idx="65">
                  <c:v>21</c:v>
                </c:pt>
                <c:pt idx="66">
                  <c:v>8</c:v>
                </c:pt>
                <c:pt idx="67">
                  <c:v>38</c:v>
                </c:pt>
                <c:pt idx="68">
                  <c:v>28</c:v>
                </c:pt>
                <c:pt idx="69">
                  <c:v>42</c:v>
                </c:pt>
                <c:pt idx="70">
                  <c:v>21</c:v>
                </c:pt>
                <c:pt idx="71">
                  <c:v>19</c:v>
                </c:pt>
                <c:pt idx="72">
                  <c:v>39</c:v>
                </c:pt>
                <c:pt idx="73">
                  <c:v>35</c:v>
                </c:pt>
                <c:pt idx="74">
                  <c:v>35</c:v>
                </c:pt>
                <c:pt idx="75">
                  <c:v>29</c:v>
                </c:pt>
                <c:pt idx="76">
                  <c:v>23</c:v>
                </c:pt>
                <c:pt idx="77">
                  <c:v>34</c:v>
                </c:pt>
                <c:pt idx="78">
                  <c:v>12</c:v>
                </c:pt>
                <c:pt idx="79">
                  <c:v>33</c:v>
                </c:pt>
                <c:pt idx="80">
                  <c:v>35</c:v>
                </c:pt>
                <c:pt idx="81">
                  <c:v>42</c:v>
                </c:pt>
                <c:pt idx="82">
                  <c:v>16</c:v>
                </c:pt>
                <c:pt idx="83">
                  <c:v>30</c:v>
                </c:pt>
                <c:pt idx="84">
                  <c:v>11</c:v>
                </c:pt>
                <c:pt idx="85">
                  <c:v>4</c:v>
                </c:pt>
                <c:pt idx="86">
                  <c:v>26</c:v>
                </c:pt>
                <c:pt idx="87">
                  <c:v>35</c:v>
                </c:pt>
                <c:pt idx="88">
                  <c:v>36</c:v>
                </c:pt>
                <c:pt idx="89">
                  <c:v>33</c:v>
                </c:pt>
                <c:pt idx="90">
                  <c:v>27</c:v>
                </c:pt>
                <c:pt idx="91">
                  <c:v>10</c:v>
                </c:pt>
                <c:pt idx="92">
                  <c:v>9</c:v>
                </c:pt>
                <c:pt idx="93">
                  <c:v>20</c:v>
                </c:pt>
                <c:pt idx="94">
                  <c:v>23</c:v>
                </c:pt>
                <c:pt idx="95">
                  <c:v>13</c:v>
                </c:pt>
                <c:pt idx="96">
                  <c:v>12</c:v>
                </c:pt>
                <c:pt idx="97">
                  <c:v>12</c:v>
                </c:pt>
                <c:pt idx="98">
                  <c:v>5</c:v>
                </c:pt>
                <c:pt idx="99">
                  <c:v>1</c:v>
                </c:pt>
                <c:pt idx="100">
                  <c:v>12</c:v>
                </c:pt>
                <c:pt idx="101">
                  <c:v>12</c:v>
                </c:pt>
                <c:pt idx="102">
                  <c:v>8</c:v>
                </c:pt>
                <c:pt idx="103">
                  <c:v>12</c:v>
                </c:pt>
                <c:pt idx="104">
                  <c:v>14</c:v>
                </c:pt>
                <c:pt idx="105">
                  <c:v>6</c:v>
                </c:pt>
                <c:pt idx="106">
                  <c:v>3</c:v>
                </c:pt>
                <c:pt idx="107">
                  <c:v>17</c:v>
                </c:pt>
                <c:pt idx="108">
                  <c:v>14</c:v>
                </c:pt>
                <c:pt idx="109">
                  <c:v>4</c:v>
                </c:pt>
                <c:pt idx="110">
                  <c:v>6</c:v>
                </c:pt>
                <c:pt idx="111">
                  <c:v>4</c:v>
                </c:pt>
                <c:pt idx="112">
                  <c:v>3</c:v>
                </c:pt>
                <c:pt idx="113">
                  <c:v>2</c:v>
                </c:pt>
                <c:pt idx="114">
                  <c:v>9</c:v>
                </c:pt>
                <c:pt idx="115">
                  <c:v>8</c:v>
                </c:pt>
                <c:pt idx="116">
                  <c:v>8</c:v>
                </c:pt>
                <c:pt idx="117">
                  <c:v>7</c:v>
                </c:pt>
                <c:pt idx="118">
                  <c:v>8</c:v>
                </c:pt>
                <c:pt idx="119">
                  <c:v>8</c:v>
                </c:pt>
                <c:pt idx="120">
                  <c:v>1</c:v>
                </c:pt>
                <c:pt idx="121">
                  <c:v>10</c:v>
                </c:pt>
                <c:pt idx="122">
                  <c:v>14</c:v>
                </c:pt>
                <c:pt idx="123">
                  <c:v>15</c:v>
                </c:pt>
                <c:pt idx="124">
                  <c:v>12</c:v>
                </c:pt>
                <c:pt idx="125">
                  <c:v>10</c:v>
                </c:pt>
                <c:pt idx="126">
                  <c:v>0</c:v>
                </c:pt>
                <c:pt idx="127">
                  <c:v>6</c:v>
                </c:pt>
                <c:pt idx="128">
                  <c:v>13</c:v>
                </c:pt>
                <c:pt idx="129">
                  <c:v>20</c:v>
                </c:pt>
                <c:pt idx="130">
                  <c:v>16</c:v>
                </c:pt>
                <c:pt idx="131">
                  <c:v>13</c:v>
                </c:pt>
                <c:pt idx="132">
                  <c:v>19</c:v>
                </c:pt>
                <c:pt idx="133">
                  <c:v>9</c:v>
                </c:pt>
                <c:pt idx="134">
                  <c:v>3</c:v>
                </c:pt>
                <c:pt idx="135">
                  <c:v>30</c:v>
                </c:pt>
                <c:pt idx="136">
                  <c:v>36</c:v>
                </c:pt>
                <c:pt idx="137">
                  <c:v>27</c:v>
                </c:pt>
                <c:pt idx="138">
                  <c:v>44</c:v>
                </c:pt>
                <c:pt idx="139">
                  <c:v>14</c:v>
                </c:pt>
                <c:pt idx="140">
                  <c:v>7</c:v>
                </c:pt>
                <c:pt idx="141">
                  <c:v>7</c:v>
                </c:pt>
                <c:pt idx="142">
                  <c:v>32</c:v>
                </c:pt>
                <c:pt idx="143">
                  <c:v>25</c:v>
                </c:pt>
                <c:pt idx="144">
                  <c:v>22</c:v>
                </c:pt>
                <c:pt idx="145">
                  <c:v>21</c:v>
                </c:pt>
                <c:pt idx="146">
                  <c:v>20</c:v>
                </c:pt>
                <c:pt idx="147">
                  <c:v>16</c:v>
                </c:pt>
                <c:pt idx="148">
                  <c:v>15</c:v>
                </c:pt>
                <c:pt idx="149">
                  <c:v>32</c:v>
                </c:pt>
                <c:pt idx="150">
                  <c:v>21</c:v>
                </c:pt>
                <c:pt idx="151">
                  <c:v>38</c:v>
                </c:pt>
                <c:pt idx="152">
                  <c:v>42</c:v>
                </c:pt>
                <c:pt idx="153">
                  <c:v>50</c:v>
                </c:pt>
                <c:pt idx="154">
                  <c:v>22</c:v>
                </c:pt>
                <c:pt idx="155">
                  <c:v>10</c:v>
                </c:pt>
                <c:pt idx="156">
                  <c:v>60</c:v>
                </c:pt>
                <c:pt idx="157">
                  <c:v>51</c:v>
                </c:pt>
                <c:pt idx="158">
                  <c:v>44</c:v>
                </c:pt>
                <c:pt idx="159">
                  <c:v>45</c:v>
                </c:pt>
                <c:pt idx="160">
                  <c:v>47</c:v>
                </c:pt>
                <c:pt idx="161">
                  <c:v>42</c:v>
                </c:pt>
                <c:pt idx="162">
                  <c:v>7</c:v>
                </c:pt>
                <c:pt idx="163">
                  <c:v>87</c:v>
                </c:pt>
                <c:pt idx="164">
                  <c:v>106</c:v>
                </c:pt>
                <c:pt idx="165">
                  <c:v>95</c:v>
                </c:pt>
                <c:pt idx="166">
                  <c:v>110</c:v>
                </c:pt>
                <c:pt idx="167">
                  <c:v>120</c:v>
                </c:pt>
                <c:pt idx="168">
                  <c:v>65</c:v>
                </c:pt>
                <c:pt idx="169">
                  <c:v>37</c:v>
                </c:pt>
                <c:pt idx="170">
                  <c:v>133</c:v>
                </c:pt>
                <c:pt idx="171">
                  <c:v>218</c:v>
                </c:pt>
                <c:pt idx="172">
                  <c:v>199</c:v>
                </c:pt>
                <c:pt idx="173">
                  <c:v>251</c:v>
                </c:pt>
                <c:pt idx="174">
                  <c:v>236</c:v>
                </c:pt>
                <c:pt idx="175">
                  <c:v>117</c:v>
                </c:pt>
                <c:pt idx="176">
                  <c:v>102</c:v>
                </c:pt>
                <c:pt idx="177">
                  <c:v>276</c:v>
                </c:pt>
                <c:pt idx="178">
                  <c:v>3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6C-4350-A198-757D4EB92D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C$244:$C$427</c:f>
              <c:numCache>
                <c:formatCode>General</c:formatCode>
                <c:ptCount val="18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76C-4350-A198-757D4EB92D7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D$244:$D$427</c:f>
              <c:numCache>
                <c:formatCode>General</c:formatCode>
                <c:ptCount val="184"/>
                <c:pt idx="73">
                  <c:v>0</c:v>
                </c:pt>
                <c:pt idx="153">
                  <c:v>37</c:v>
                </c:pt>
                <c:pt idx="154">
                  <c:v>38</c:v>
                </c:pt>
                <c:pt idx="155">
                  <c:v>40</c:v>
                </c:pt>
                <c:pt idx="156">
                  <c:v>41</c:v>
                </c:pt>
                <c:pt idx="157">
                  <c:v>43</c:v>
                </c:pt>
                <c:pt idx="158">
                  <c:v>45</c:v>
                </c:pt>
                <c:pt idx="159">
                  <c:v>46</c:v>
                </c:pt>
                <c:pt idx="160">
                  <c:v>48</c:v>
                </c:pt>
                <c:pt idx="161">
                  <c:v>50</c:v>
                </c:pt>
                <c:pt idx="162">
                  <c:v>52</c:v>
                </c:pt>
                <c:pt idx="163">
                  <c:v>54</c:v>
                </c:pt>
                <c:pt idx="164">
                  <c:v>56</c:v>
                </c:pt>
                <c:pt idx="165">
                  <c:v>58</c:v>
                </c:pt>
                <c:pt idx="166">
                  <c:v>60</c:v>
                </c:pt>
                <c:pt idx="167">
                  <c:v>62</c:v>
                </c:pt>
                <c:pt idx="168">
                  <c:v>64</c:v>
                </c:pt>
                <c:pt idx="169">
                  <c:v>67</c:v>
                </c:pt>
                <c:pt idx="170">
                  <c:v>69</c:v>
                </c:pt>
                <c:pt idx="171">
                  <c:v>71</c:v>
                </c:pt>
                <c:pt idx="172">
                  <c:v>74</c:v>
                </c:pt>
                <c:pt idx="173">
                  <c:v>77</c:v>
                </c:pt>
                <c:pt idx="174">
                  <c:v>79</c:v>
                </c:pt>
                <c:pt idx="175">
                  <c:v>82</c:v>
                </c:pt>
                <c:pt idx="176">
                  <c:v>85</c:v>
                </c:pt>
                <c:pt idx="177">
                  <c:v>88</c:v>
                </c:pt>
                <c:pt idx="178">
                  <c:v>91</c:v>
                </c:pt>
                <c:pt idx="179">
                  <c:v>95</c:v>
                </c:pt>
                <c:pt idx="180">
                  <c:v>98</c:v>
                </c:pt>
                <c:pt idx="181">
                  <c:v>102</c:v>
                </c:pt>
                <c:pt idx="182">
                  <c:v>105</c:v>
                </c:pt>
                <c:pt idx="183">
                  <c:v>1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76C-4350-A198-757D4EB92D7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E$244:$E$427</c:f>
              <c:numCache>
                <c:formatCode>General</c:formatCode>
                <c:ptCount val="184"/>
                <c:pt idx="153">
                  <c:v>38</c:v>
                </c:pt>
                <c:pt idx="154">
                  <c:v>41</c:v>
                </c:pt>
                <c:pt idx="155">
                  <c:v>43</c:v>
                </c:pt>
                <c:pt idx="156">
                  <c:v>44</c:v>
                </c:pt>
                <c:pt idx="157">
                  <c:v>47</c:v>
                </c:pt>
                <c:pt idx="158">
                  <c:v>49</c:v>
                </c:pt>
                <c:pt idx="159">
                  <c:v>52</c:v>
                </c:pt>
                <c:pt idx="160">
                  <c:v>55</c:v>
                </c:pt>
                <c:pt idx="161">
                  <c:v>58</c:v>
                </c:pt>
                <c:pt idx="162">
                  <c:v>61</c:v>
                </c:pt>
                <c:pt idx="163">
                  <c:v>64</c:v>
                </c:pt>
                <c:pt idx="164">
                  <c:v>67</c:v>
                </c:pt>
                <c:pt idx="165">
                  <c:v>71</c:v>
                </c:pt>
                <c:pt idx="166">
                  <c:v>74</c:v>
                </c:pt>
                <c:pt idx="167">
                  <c:v>78</c:v>
                </c:pt>
                <c:pt idx="168">
                  <c:v>82</c:v>
                </c:pt>
                <c:pt idx="169">
                  <c:v>86</c:v>
                </c:pt>
                <c:pt idx="170">
                  <c:v>90</c:v>
                </c:pt>
                <c:pt idx="171">
                  <c:v>95</c:v>
                </c:pt>
                <c:pt idx="172">
                  <c:v>100</c:v>
                </c:pt>
                <c:pt idx="173">
                  <c:v>105</c:v>
                </c:pt>
                <c:pt idx="174">
                  <c:v>110</c:v>
                </c:pt>
                <c:pt idx="175">
                  <c:v>116</c:v>
                </c:pt>
                <c:pt idx="176">
                  <c:v>122</c:v>
                </c:pt>
                <c:pt idx="177">
                  <c:v>128</c:v>
                </c:pt>
                <c:pt idx="178">
                  <c:v>134</c:v>
                </c:pt>
                <c:pt idx="179">
                  <c:v>141</c:v>
                </c:pt>
                <c:pt idx="180">
                  <c:v>148</c:v>
                </c:pt>
                <c:pt idx="181">
                  <c:v>156</c:v>
                </c:pt>
                <c:pt idx="182">
                  <c:v>163</c:v>
                </c:pt>
                <c:pt idx="183">
                  <c:v>1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76C-4350-A198-757D4EB92D7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F$244:$F$427</c:f>
              <c:numCache>
                <c:formatCode>General</c:formatCode>
                <c:ptCount val="184"/>
                <c:pt idx="153">
                  <c:v>40</c:v>
                </c:pt>
                <c:pt idx="154">
                  <c:v>43</c:v>
                </c:pt>
                <c:pt idx="155">
                  <c:v>45</c:v>
                </c:pt>
                <c:pt idx="156">
                  <c:v>48</c:v>
                </c:pt>
                <c:pt idx="157">
                  <c:v>51</c:v>
                </c:pt>
                <c:pt idx="158">
                  <c:v>54</c:v>
                </c:pt>
                <c:pt idx="159">
                  <c:v>58</c:v>
                </c:pt>
                <c:pt idx="160">
                  <c:v>62</c:v>
                </c:pt>
                <c:pt idx="161">
                  <c:v>66</c:v>
                </c:pt>
                <c:pt idx="162">
                  <c:v>70</c:v>
                </c:pt>
                <c:pt idx="163">
                  <c:v>75</c:v>
                </c:pt>
                <c:pt idx="164">
                  <c:v>80</c:v>
                </c:pt>
                <c:pt idx="165">
                  <c:v>85</c:v>
                </c:pt>
                <c:pt idx="166">
                  <c:v>91</c:v>
                </c:pt>
                <c:pt idx="167">
                  <c:v>97</c:v>
                </c:pt>
                <c:pt idx="168">
                  <c:v>103</c:v>
                </c:pt>
                <c:pt idx="169">
                  <c:v>109</c:v>
                </c:pt>
                <c:pt idx="170">
                  <c:v>117</c:v>
                </c:pt>
                <c:pt idx="171">
                  <c:v>124</c:v>
                </c:pt>
                <c:pt idx="172">
                  <c:v>132</c:v>
                </c:pt>
                <c:pt idx="173">
                  <c:v>141</c:v>
                </c:pt>
                <c:pt idx="174">
                  <c:v>150</c:v>
                </c:pt>
                <c:pt idx="175">
                  <c:v>160</c:v>
                </c:pt>
                <c:pt idx="176">
                  <c:v>170</c:v>
                </c:pt>
                <c:pt idx="177">
                  <c:v>181</c:v>
                </c:pt>
                <c:pt idx="178">
                  <c:v>193</c:v>
                </c:pt>
                <c:pt idx="179">
                  <c:v>205</c:v>
                </c:pt>
                <c:pt idx="180">
                  <c:v>218</c:v>
                </c:pt>
                <c:pt idx="181">
                  <c:v>232</c:v>
                </c:pt>
                <c:pt idx="182">
                  <c:v>247</c:v>
                </c:pt>
                <c:pt idx="183">
                  <c:v>2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76C-4350-A198-757D4EB92D70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4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27</c:f>
              <c:numCache>
                <c:formatCode>m/d/yyyy</c:formatCode>
                <c:ptCount val="184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</c:numCache>
            </c:numRef>
          </c:cat>
          <c:val>
            <c:numRef>
              <c:f>Sheet1!$G$244:$G$427</c:f>
              <c:numCache>
                <c:formatCode>General</c:formatCode>
                <c:ptCount val="184"/>
                <c:pt idx="153">
                  <c:v>40</c:v>
                </c:pt>
                <c:pt idx="154">
                  <c:v>43</c:v>
                </c:pt>
                <c:pt idx="155">
                  <c:v>45</c:v>
                </c:pt>
                <c:pt idx="156">
                  <c:v>48</c:v>
                </c:pt>
                <c:pt idx="157">
                  <c:v>51</c:v>
                </c:pt>
                <c:pt idx="158">
                  <c:v>54</c:v>
                </c:pt>
                <c:pt idx="159">
                  <c:v>58</c:v>
                </c:pt>
                <c:pt idx="160">
                  <c:v>62</c:v>
                </c:pt>
                <c:pt idx="161">
                  <c:v>66</c:v>
                </c:pt>
                <c:pt idx="162">
                  <c:v>70</c:v>
                </c:pt>
                <c:pt idx="163">
                  <c:v>75</c:v>
                </c:pt>
                <c:pt idx="164">
                  <c:v>85</c:v>
                </c:pt>
                <c:pt idx="165">
                  <c:v>94</c:v>
                </c:pt>
                <c:pt idx="166">
                  <c:v>102</c:v>
                </c:pt>
                <c:pt idx="167">
                  <c:v>109</c:v>
                </c:pt>
                <c:pt idx="168">
                  <c:v>119</c:v>
                </c:pt>
                <c:pt idx="169">
                  <c:v>130</c:v>
                </c:pt>
                <c:pt idx="170">
                  <c:v>143</c:v>
                </c:pt>
                <c:pt idx="171">
                  <c:v>157</c:v>
                </c:pt>
                <c:pt idx="172">
                  <c:v>170</c:v>
                </c:pt>
                <c:pt idx="173">
                  <c:v>185</c:v>
                </c:pt>
                <c:pt idx="174">
                  <c:v>201</c:v>
                </c:pt>
                <c:pt idx="175">
                  <c:v>220</c:v>
                </c:pt>
                <c:pt idx="176">
                  <c:v>241</c:v>
                </c:pt>
                <c:pt idx="177">
                  <c:v>263</c:v>
                </c:pt>
                <c:pt idx="178">
                  <c:v>286</c:v>
                </c:pt>
                <c:pt idx="179">
                  <c:v>312</c:v>
                </c:pt>
                <c:pt idx="180">
                  <c:v>340</c:v>
                </c:pt>
                <c:pt idx="181">
                  <c:v>371</c:v>
                </c:pt>
                <c:pt idx="182">
                  <c:v>405</c:v>
                </c:pt>
                <c:pt idx="183">
                  <c:v>4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76C-4350-A198-757D4EB92D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14.svg"/><Relationship Id="rId4" Type="http://schemas.openxmlformats.org/officeDocument/2006/relationships/image" Target="../media/image1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14.svg"/><Relationship Id="rId4" Type="http://schemas.openxmlformats.org/officeDocument/2006/relationships/image" Target="../media/image1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14.svg"/><Relationship Id="rId4" Type="http://schemas.openxmlformats.org/officeDocument/2006/relationships/image" Target="../media/image16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2.sv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14.svg"/><Relationship Id="rId4" Type="http://schemas.openxmlformats.org/officeDocument/2006/relationships/image" Target="../media/image16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58822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00879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688226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594943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0207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45183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60658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859008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8830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921305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1771327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7.10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7.10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7.sv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821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704267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tiff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tiff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1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1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gif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1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gif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1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2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2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2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2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2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image" Target="../media/image43.gif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2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image" Target="../media/image43.gif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2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2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3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828910"/>
            <a:ext cx="11905307" cy="2236911"/>
          </a:xfrm>
        </p:spPr>
        <p:txBody>
          <a:bodyPr>
            <a:normAutofit lnSpcReduction="10000"/>
          </a:bodyPr>
          <a:lstStyle/>
          <a:p>
            <a:r>
              <a:rPr lang="cs-CZ" sz="5200" b="1" dirty="0"/>
              <a:t>Variantní predikce možného vývoje epidemie na podzim 2021</a:t>
            </a:r>
          </a:p>
          <a:p>
            <a:r>
              <a:rPr lang="cs-CZ" sz="5200" b="1" i="1" dirty="0"/>
              <a:t>Krátkodobé projekce vývoje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23007466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Středočeský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8B4ECA94-5826-42D2-BAD1-DE3B69CA8FD8}"/>
              </a:ext>
            </a:extLst>
          </p:cNvPr>
          <p:cNvGrpSpPr/>
          <p:nvPr/>
        </p:nvGrpSpPr>
        <p:grpSpPr>
          <a:xfrm>
            <a:off x="10773218" y="654984"/>
            <a:ext cx="1327377" cy="214078"/>
            <a:chOff x="12334307" y="6375531"/>
            <a:chExt cx="2716628" cy="438135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7C780A69-D94E-47FF-B50A-DD9CA90BEC3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34307" y="6375531"/>
              <a:ext cx="338328" cy="438135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604E2B7F-2EC1-48AD-8E63-E2935E48829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07607" y="6385202"/>
              <a:ext cx="2243328" cy="396240"/>
            </a:xfrm>
            <a:prstGeom prst="rect">
              <a:avLst/>
            </a:prstGeom>
          </p:spPr>
        </p:pic>
      </p:grpSp>
      <p:graphicFrame>
        <p:nvGraphicFramePr>
          <p:cNvPr id="25" name="Chart 4">
            <a:extLst>
              <a:ext uri="{FF2B5EF4-FFF2-40B4-BE49-F238E27FC236}">
                <a16:creationId xmlns:a16="http://schemas.microsoft.com/office/drawing/2014/main" id="{EEAC62B5-FA3A-47C2-B02B-5B0DC11045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13217404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5" name="TextovéPole 44">
            <a:extLst>
              <a:ext uri="{FF2B5EF4-FFF2-40B4-BE49-F238E27FC236}">
                <a16:creationId xmlns:a16="http://schemas.microsoft.com/office/drawing/2014/main" id="{45780927-1371-4BF1-BF18-AFD8025B7447}"/>
              </a:ext>
            </a:extLst>
          </p:cNvPr>
          <p:cNvSpPr txBox="1"/>
          <p:nvPr/>
        </p:nvSpPr>
        <p:spPr>
          <a:xfrm>
            <a:off x="10320560" y="2461274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. 10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1 414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842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550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349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D00C08D9-BA9B-468F-BBE5-BF6C41D97E12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cxnSp>
        <p:nvCxnSpPr>
          <p:cNvPr id="29" name="Přímá spojnice se šipkou 28">
            <a:extLst>
              <a:ext uri="{FF2B5EF4-FFF2-40B4-BE49-F238E27FC236}">
                <a16:creationId xmlns:a16="http://schemas.microsoft.com/office/drawing/2014/main" id="{CBC667C3-0D18-469A-B2B8-CEC383D039A2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Přímá spojnice se šipkou 31">
            <a:extLst>
              <a:ext uri="{FF2B5EF4-FFF2-40B4-BE49-F238E27FC236}">
                <a16:creationId xmlns:a16="http://schemas.microsoft.com/office/drawing/2014/main" id="{7E7F1BDB-061C-42C2-B689-FC9C945F0EE2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6">
            <a:extLst>
              <a:ext uri="{FF2B5EF4-FFF2-40B4-BE49-F238E27FC236}">
                <a16:creationId xmlns:a16="http://schemas.microsoft.com/office/drawing/2014/main" id="{FF32F1EE-892B-44BB-867A-3DBA4A4C585E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ovéPole 47">
            <a:extLst>
              <a:ext uri="{FF2B5EF4-FFF2-40B4-BE49-F238E27FC236}">
                <a16:creationId xmlns:a16="http://schemas.microsoft.com/office/drawing/2014/main" id="{CE1285E9-60A5-477B-BC25-7C8EC984DB9A}"/>
              </a:ext>
            </a:extLst>
          </p:cNvPr>
          <p:cNvSpPr txBox="1"/>
          <p:nvPr/>
        </p:nvSpPr>
        <p:spPr>
          <a:xfrm>
            <a:off x="8249941" y="2790122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Obdélník 48">
            <a:extLst>
              <a:ext uri="{FF2B5EF4-FFF2-40B4-BE49-F238E27FC236}">
                <a16:creationId xmlns:a16="http://schemas.microsoft.com/office/drawing/2014/main" id="{C5626CA9-0B73-4BD0-90BA-7B9BB0108F4E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23. 9. až 30. 9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53" name="TextovéPole 52">
            <a:extLst>
              <a:ext uri="{FF2B5EF4-FFF2-40B4-BE49-F238E27FC236}">
                <a16:creationId xmlns:a16="http://schemas.microsoft.com/office/drawing/2014/main" id="{772EDE18-ABC9-4DA5-B496-8EBF8764E734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60</a:t>
            </a: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E19B9E04-67BE-41C8-B4F8-75686FB051C0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omalého růstu, R = 1,20</a:t>
            </a:r>
          </a:p>
        </p:txBody>
      </p:sp>
      <p:sp>
        <p:nvSpPr>
          <p:cNvPr id="56" name="Obdélník 55">
            <a:extLst>
              <a:ext uri="{FF2B5EF4-FFF2-40B4-BE49-F238E27FC236}">
                <a16:creationId xmlns:a16="http://schemas.microsoft.com/office/drawing/2014/main" id="{04103511-5558-4CD1-B3AE-769C491AEAE0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TextovéPole 56">
            <a:extLst>
              <a:ext uri="{FF2B5EF4-FFF2-40B4-BE49-F238E27FC236}">
                <a16:creationId xmlns:a16="http://schemas.microsoft.com/office/drawing/2014/main" id="{C9C2D651-A41D-4EF3-9087-DC36F3A5E8E4}"/>
              </a:ext>
            </a:extLst>
          </p:cNvPr>
          <p:cNvSpPr txBox="1"/>
          <p:nvPr/>
        </p:nvSpPr>
        <p:spPr>
          <a:xfrm>
            <a:off x="4467521" y="278925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60</a:t>
            </a:r>
          </a:p>
        </p:txBody>
      </p:sp>
      <p:cxnSp>
        <p:nvCxnSpPr>
          <p:cNvPr id="58" name="Přímá spojnice 57">
            <a:extLst>
              <a:ext uri="{FF2B5EF4-FFF2-40B4-BE49-F238E27FC236}">
                <a16:creationId xmlns:a16="http://schemas.microsoft.com/office/drawing/2014/main" id="{098545EF-31AA-4D63-A452-CADFEB1640B8}"/>
              </a:ext>
            </a:extLst>
          </p:cNvPr>
          <p:cNvCxnSpPr>
            <a:cxnSpLocks/>
          </p:cNvCxnSpPr>
          <p:nvPr/>
        </p:nvCxnSpPr>
        <p:spPr>
          <a:xfrm>
            <a:off x="4173268" y="29442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E5CAB622-B166-4370-8076-B87AB7DC2DDD}"/>
              </a:ext>
            </a:extLst>
          </p:cNvPr>
          <p:cNvSpPr txBox="1"/>
          <p:nvPr/>
        </p:nvSpPr>
        <p:spPr>
          <a:xfrm>
            <a:off x="4467521" y="29967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60" name="Přímá spojnice 59">
            <a:extLst>
              <a:ext uri="{FF2B5EF4-FFF2-40B4-BE49-F238E27FC236}">
                <a16:creationId xmlns:a16="http://schemas.microsoft.com/office/drawing/2014/main" id="{2D5CEA46-0931-40B0-B36F-7619692F2A6E}"/>
              </a:ext>
            </a:extLst>
          </p:cNvPr>
          <p:cNvCxnSpPr>
            <a:cxnSpLocks/>
          </p:cNvCxnSpPr>
          <p:nvPr/>
        </p:nvCxnSpPr>
        <p:spPr>
          <a:xfrm>
            <a:off x="4173268" y="3167595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B4EBC552-C2C6-42D2-A1EF-7FC2C1149F6A}"/>
              </a:ext>
            </a:extLst>
          </p:cNvPr>
          <p:cNvCxnSpPr>
            <a:cxnSpLocks/>
          </p:cNvCxnSpPr>
          <p:nvPr/>
        </p:nvCxnSpPr>
        <p:spPr>
          <a:xfrm>
            <a:off x="4173268" y="3572343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62" name="TextovéPole 61">
            <a:extLst>
              <a:ext uri="{FF2B5EF4-FFF2-40B4-BE49-F238E27FC236}">
                <a16:creationId xmlns:a16="http://schemas.microsoft.com/office/drawing/2014/main" id="{401ADFF4-744D-4942-AFDF-C911FB31BC52}"/>
              </a:ext>
            </a:extLst>
          </p:cNvPr>
          <p:cNvSpPr txBox="1"/>
          <p:nvPr/>
        </p:nvSpPr>
        <p:spPr>
          <a:xfrm>
            <a:off x="4467521" y="3423047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10. 2021)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BF4563C2-101D-447A-B470-3E2C6941E9D4}"/>
              </a:ext>
            </a:extLst>
          </p:cNvPr>
          <p:cNvSpPr txBox="1"/>
          <p:nvPr/>
        </p:nvSpPr>
        <p:spPr>
          <a:xfrm>
            <a:off x="4468013" y="3216570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64" name="Přímá spojnice 63">
            <a:extLst>
              <a:ext uri="{FF2B5EF4-FFF2-40B4-BE49-F238E27FC236}">
                <a16:creationId xmlns:a16="http://schemas.microsoft.com/office/drawing/2014/main" id="{53B8802B-947B-415E-B5B6-8764F9F3E390}"/>
              </a:ext>
            </a:extLst>
          </p:cNvPr>
          <p:cNvCxnSpPr>
            <a:cxnSpLocks/>
          </p:cNvCxnSpPr>
          <p:nvPr/>
        </p:nvCxnSpPr>
        <p:spPr>
          <a:xfrm>
            <a:off x="4173268" y="3367779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4133348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Středočes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B6F0B769-9E18-45F0-89C4-8D22EE771EAC}"/>
              </a:ext>
            </a:extLst>
          </p:cNvPr>
          <p:cNvGrpSpPr/>
          <p:nvPr/>
        </p:nvGrpSpPr>
        <p:grpSpPr>
          <a:xfrm>
            <a:off x="10773218" y="654984"/>
            <a:ext cx="1327377" cy="214078"/>
            <a:chOff x="12334307" y="6375531"/>
            <a:chExt cx="2716628" cy="438135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DD960978-7BB1-42CA-95DD-3FE1D770A6C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34307" y="6375531"/>
              <a:ext cx="338328" cy="438135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FB1A8ED9-4024-42AE-9EED-709A4416F00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07607" y="6385202"/>
              <a:ext cx="2243328" cy="396240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182AE65E-DEFC-4B4F-B1D6-B8C73D044C4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00863731"/>
              </p:ext>
            </p:extLst>
          </p:nvPr>
        </p:nvGraphicFramePr>
        <p:xfrm>
          <a:off x="219185" y="965405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TextovéPole 55">
            <a:extLst>
              <a:ext uri="{FF2B5EF4-FFF2-40B4-BE49-F238E27FC236}">
                <a16:creationId xmlns:a16="http://schemas.microsoft.com/office/drawing/2014/main" id="{89A8BD0B-C25E-48EB-9D06-D74A163672A6}"/>
              </a:ext>
            </a:extLst>
          </p:cNvPr>
          <p:cNvSpPr txBox="1"/>
          <p:nvPr/>
        </p:nvSpPr>
        <p:spPr>
          <a:xfrm>
            <a:off x="7475939" y="1896882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. 10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444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82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91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26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58" name="TextBox 6">
            <a:extLst>
              <a:ext uri="{FF2B5EF4-FFF2-40B4-BE49-F238E27FC236}">
                <a16:creationId xmlns:a16="http://schemas.microsoft.com/office/drawing/2014/main" id="{291016E3-02E0-4576-A49D-8B2C2D43F645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0158D125-7990-4556-842C-9341BFD1A0F8}"/>
              </a:ext>
            </a:extLst>
          </p:cNvPr>
          <p:cNvSpPr txBox="1"/>
          <p:nvPr/>
        </p:nvSpPr>
        <p:spPr>
          <a:xfrm>
            <a:off x="6979613" y="1558328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62" name="TextovéPole 61">
            <a:extLst>
              <a:ext uri="{FF2B5EF4-FFF2-40B4-BE49-F238E27FC236}">
                <a16:creationId xmlns:a16="http://schemas.microsoft.com/office/drawing/2014/main" id="{8CD9D82F-3ADE-4042-8152-26547273AE19}"/>
              </a:ext>
            </a:extLst>
          </p:cNvPr>
          <p:cNvSpPr txBox="1"/>
          <p:nvPr/>
        </p:nvSpPr>
        <p:spPr>
          <a:xfrm>
            <a:off x="11276440" y="4389173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1822E960-B842-490F-92DB-3DB1680B62BE}"/>
              </a:ext>
            </a:extLst>
          </p:cNvPr>
          <p:cNvSpPr txBox="1"/>
          <p:nvPr/>
        </p:nvSpPr>
        <p:spPr>
          <a:xfrm>
            <a:off x="11255853" y="5073168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C6ECFA6D-5AA7-4697-8EB7-F624FA0D4A95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23. 9. až 30. 9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283347AC-E94B-452E-B7BB-30E53AB33F80}"/>
              </a:ext>
            </a:extLst>
          </p:cNvPr>
          <p:cNvSpPr txBox="1"/>
          <p:nvPr/>
        </p:nvSpPr>
        <p:spPr>
          <a:xfrm>
            <a:off x="5472652" y="100135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D232CBD3-1488-4E26-93F3-C889D1E64DE4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46839AAF-7E8E-4AB0-B987-91BF057595A1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AC54F7DF-670F-4DE9-9E05-66C1B7FE0E1C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691B26C5-4510-4DAF-80E5-55472A92D44D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36" name="Přímá spojnice 35">
            <a:extLst>
              <a:ext uri="{FF2B5EF4-FFF2-40B4-BE49-F238E27FC236}">
                <a16:creationId xmlns:a16="http://schemas.microsoft.com/office/drawing/2014/main" id="{FE00FCC7-7343-41F6-9F63-4A223E45237A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Přímá spojnice 36">
            <a:extLst>
              <a:ext uri="{FF2B5EF4-FFF2-40B4-BE49-F238E27FC236}">
                <a16:creationId xmlns:a16="http://schemas.microsoft.com/office/drawing/2014/main" id="{D8272B20-97FE-42AE-9594-5006D846521B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E63E2D1C-8519-49D6-B5AE-4A0794C9AB54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D94E0FCD-0650-4A6E-855F-992DF61C5E0E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DA5B01FD-609C-4CD5-A114-93C979CB83EC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37520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Jihočeský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B9B2F9A8-B201-4A43-927B-92767CAD080F}"/>
              </a:ext>
            </a:extLst>
          </p:cNvPr>
          <p:cNvGrpSpPr/>
          <p:nvPr/>
        </p:nvGrpSpPr>
        <p:grpSpPr>
          <a:xfrm>
            <a:off x="11226729" y="603793"/>
            <a:ext cx="933372" cy="306063"/>
            <a:chOff x="12375318" y="1202167"/>
            <a:chExt cx="1654215" cy="542435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AEAF53BE-B74F-49C5-9A1D-EADC80700E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1275248"/>
              <a:ext cx="371898" cy="447173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16AEE8B5-DCDB-42AC-8BFE-3550B19619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760" t="24183" b="15901"/>
            <a:stretch/>
          </p:blipFill>
          <p:spPr>
            <a:xfrm>
              <a:off x="12855762" y="1202167"/>
              <a:ext cx="1173771" cy="542435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E74A7F76-2173-4639-81E0-7BFDFFE09F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33438594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5" name="TextovéPole 64">
            <a:extLst>
              <a:ext uri="{FF2B5EF4-FFF2-40B4-BE49-F238E27FC236}">
                <a16:creationId xmlns:a16="http://schemas.microsoft.com/office/drawing/2014/main" id="{12161E4E-E86A-491B-B270-A0E738C6906F}"/>
              </a:ext>
            </a:extLst>
          </p:cNvPr>
          <p:cNvSpPr txBox="1"/>
          <p:nvPr/>
        </p:nvSpPr>
        <p:spPr>
          <a:xfrm>
            <a:off x="10367348" y="2305509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. 10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660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393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257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63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6DB92701-3394-421F-AEA7-8F9E23F54A44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cxnSp>
        <p:nvCxnSpPr>
          <p:cNvPr id="35" name="Přímá spojnice se šipkou 34">
            <a:extLst>
              <a:ext uri="{FF2B5EF4-FFF2-40B4-BE49-F238E27FC236}">
                <a16:creationId xmlns:a16="http://schemas.microsoft.com/office/drawing/2014/main" id="{43F7DD61-7B58-445E-9E11-D8E900D63741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se šipkou 35">
            <a:extLst>
              <a:ext uri="{FF2B5EF4-FFF2-40B4-BE49-F238E27FC236}">
                <a16:creationId xmlns:a16="http://schemas.microsoft.com/office/drawing/2014/main" id="{01826AE9-9193-4F4A-B37F-5604B925F776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6">
            <a:extLst>
              <a:ext uri="{FF2B5EF4-FFF2-40B4-BE49-F238E27FC236}">
                <a16:creationId xmlns:a16="http://schemas.microsoft.com/office/drawing/2014/main" id="{5C7D4879-8D4F-4F64-AC90-6355DDF0946E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0DDAA99A-EF68-4F0D-8360-01A6600781EF}"/>
              </a:ext>
            </a:extLst>
          </p:cNvPr>
          <p:cNvSpPr txBox="1"/>
          <p:nvPr/>
        </p:nvSpPr>
        <p:spPr>
          <a:xfrm>
            <a:off x="8249941" y="2790122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bdélník 38">
            <a:extLst>
              <a:ext uri="{FF2B5EF4-FFF2-40B4-BE49-F238E27FC236}">
                <a16:creationId xmlns:a16="http://schemas.microsoft.com/office/drawing/2014/main" id="{8097884D-C365-4560-BED2-04A760C2BAA8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23. 9. až 30. 9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6FD3CA36-A4C7-4FE2-ACB4-313C822F36D1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60</a:t>
            </a:r>
          </a:p>
        </p:txBody>
      </p: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449F9850-B933-4322-ADFF-415284DBDF4F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omalého růstu, R = 1,20</a:t>
            </a: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CE8F3FB1-8F19-465F-A8B7-52E4D4988956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57EB56E2-AF4F-4931-8625-39E562F5054F}"/>
              </a:ext>
            </a:extLst>
          </p:cNvPr>
          <p:cNvSpPr txBox="1"/>
          <p:nvPr/>
        </p:nvSpPr>
        <p:spPr>
          <a:xfrm>
            <a:off x="4467521" y="278925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60</a:t>
            </a:r>
          </a:p>
        </p:txBody>
      </p:sp>
      <p:cxnSp>
        <p:nvCxnSpPr>
          <p:cNvPr id="50" name="Přímá spojnice 49">
            <a:extLst>
              <a:ext uri="{FF2B5EF4-FFF2-40B4-BE49-F238E27FC236}">
                <a16:creationId xmlns:a16="http://schemas.microsoft.com/office/drawing/2014/main" id="{1D6C2867-F5E6-407A-8855-DE8149F1E07C}"/>
              </a:ext>
            </a:extLst>
          </p:cNvPr>
          <p:cNvCxnSpPr>
            <a:cxnSpLocks/>
          </p:cNvCxnSpPr>
          <p:nvPr/>
        </p:nvCxnSpPr>
        <p:spPr>
          <a:xfrm>
            <a:off x="4173268" y="29442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DF7F8A35-EB63-40D4-9A26-3E1739F12128}"/>
              </a:ext>
            </a:extLst>
          </p:cNvPr>
          <p:cNvSpPr txBox="1"/>
          <p:nvPr/>
        </p:nvSpPr>
        <p:spPr>
          <a:xfrm>
            <a:off x="4467521" y="29967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56" name="Přímá spojnice 55">
            <a:extLst>
              <a:ext uri="{FF2B5EF4-FFF2-40B4-BE49-F238E27FC236}">
                <a16:creationId xmlns:a16="http://schemas.microsoft.com/office/drawing/2014/main" id="{95118E7F-BAED-44F8-B643-206B9354C6D9}"/>
              </a:ext>
            </a:extLst>
          </p:cNvPr>
          <p:cNvCxnSpPr>
            <a:cxnSpLocks/>
          </p:cNvCxnSpPr>
          <p:nvPr/>
        </p:nvCxnSpPr>
        <p:spPr>
          <a:xfrm>
            <a:off x="4173268" y="3167595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58" name="Přímá spojnice 57">
            <a:extLst>
              <a:ext uri="{FF2B5EF4-FFF2-40B4-BE49-F238E27FC236}">
                <a16:creationId xmlns:a16="http://schemas.microsoft.com/office/drawing/2014/main" id="{C0CF8D93-42A5-4C67-ADAC-813726E49A15}"/>
              </a:ext>
            </a:extLst>
          </p:cNvPr>
          <p:cNvCxnSpPr>
            <a:cxnSpLocks/>
          </p:cNvCxnSpPr>
          <p:nvPr/>
        </p:nvCxnSpPr>
        <p:spPr>
          <a:xfrm>
            <a:off x="4173268" y="3572343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89FD0BA9-F66C-4C7E-BFC1-AC81A66A3DE5}"/>
              </a:ext>
            </a:extLst>
          </p:cNvPr>
          <p:cNvSpPr txBox="1"/>
          <p:nvPr/>
        </p:nvSpPr>
        <p:spPr>
          <a:xfrm>
            <a:off x="4467521" y="3423047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10. 2021)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9BA58D38-6FA5-49DA-9DAC-6641C1C83783}"/>
              </a:ext>
            </a:extLst>
          </p:cNvPr>
          <p:cNvSpPr txBox="1"/>
          <p:nvPr/>
        </p:nvSpPr>
        <p:spPr>
          <a:xfrm>
            <a:off x="4468013" y="3216570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41E4AEE0-CB5B-4F94-80D1-FFB363B55C06}"/>
              </a:ext>
            </a:extLst>
          </p:cNvPr>
          <p:cNvCxnSpPr>
            <a:cxnSpLocks/>
          </p:cNvCxnSpPr>
          <p:nvPr/>
        </p:nvCxnSpPr>
        <p:spPr>
          <a:xfrm>
            <a:off x="4173268" y="3367779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42923120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Jihočes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44E56BAA-D2B6-477F-92E5-91C0FE4B889D}"/>
              </a:ext>
            </a:extLst>
          </p:cNvPr>
          <p:cNvGrpSpPr/>
          <p:nvPr/>
        </p:nvGrpSpPr>
        <p:grpSpPr>
          <a:xfrm>
            <a:off x="11226729" y="603793"/>
            <a:ext cx="933372" cy="306063"/>
            <a:chOff x="12375318" y="1202167"/>
            <a:chExt cx="1654215" cy="542435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A3DF257B-B72D-4A98-990E-9A7F81FB76F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1275248"/>
              <a:ext cx="371898" cy="447173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5F9C1474-D0A7-48EC-9CE7-C3A528AF63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760" t="24183" b="15901"/>
            <a:stretch/>
          </p:blipFill>
          <p:spPr>
            <a:xfrm>
              <a:off x="12855762" y="1202167"/>
              <a:ext cx="1173771" cy="542435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A817F772-1398-44AE-8A9E-27BA3BC9F4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74756103"/>
              </p:ext>
            </p:extLst>
          </p:nvPr>
        </p:nvGraphicFramePr>
        <p:xfrm>
          <a:off x="290212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4" name="TextovéPole 53">
            <a:extLst>
              <a:ext uri="{FF2B5EF4-FFF2-40B4-BE49-F238E27FC236}">
                <a16:creationId xmlns:a16="http://schemas.microsoft.com/office/drawing/2014/main" id="{8E36C253-BE70-4505-BDD6-3B5C0EFC3D2F}"/>
              </a:ext>
            </a:extLst>
          </p:cNvPr>
          <p:cNvSpPr txBox="1"/>
          <p:nvPr/>
        </p:nvSpPr>
        <p:spPr>
          <a:xfrm>
            <a:off x="7808768" y="2195347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. 10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450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86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94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29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56" name="TextBox 6">
            <a:extLst>
              <a:ext uri="{FF2B5EF4-FFF2-40B4-BE49-F238E27FC236}">
                <a16:creationId xmlns:a16="http://schemas.microsoft.com/office/drawing/2014/main" id="{9C2A8E74-22FB-46C4-9B5E-FF2199882A5D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0D83FC45-3A70-474B-B779-BE9DE8F6C966}"/>
              </a:ext>
            </a:extLst>
          </p:cNvPr>
          <p:cNvSpPr txBox="1"/>
          <p:nvPr/>
        </p:nvSpPr>
        <p:spPr>
          <a:xfrm>
            <a:off x="7294686" y="1856793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88ABBC53-C650-4CB5-9EFD-2370B83A3062}"/>
              </a:ext>
            </a:extLst>
          </p:cNvPr>
          <p:cNvSpPr txBox="1"/>
          <p:nvPr/>
        </p:nvSpPr>
        <p:spPr>
          <a:xfrm>
            <a:off x="11324327" y="4736657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9F1F2AE9-618D-4371-AA53-2386A938983A}"/>
              </a:ext>
            </a:extLst>
          </p:cNvPr>
          <p:cNvSpPr txBox="1"/>
          <p:nvPr/>
        </p:nvSpPr>
        <p:spPr>
          <a:xfrm>
            <a:off x="11331648" y="5277505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FDB4222-C3CB-463D-B0F3-D2C63F3BAA25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23. 9. až 30. 9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A5639945-0F54-4151-8592-34C75EF644A6}"/>
              </a:ext>
            </a:extLst>
          </p:cNvPr>
          <p:cNvSpPr txBox="1"/>
          <p:nvPr/>
        </p:nvSpPr>
        <p:spPr>
          <a:xfrm>
            <a:off x="5472652" y="100135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5E42412E-1458-41FB-BBFF-A7CC63D5C765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96792F6D-E3A0-4F70-ADBF-769F1D9A0873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F4405C6E-B78A-41E9-B22C-9F08F04F7E10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0038B46A-715F-4F8D-956C-2440F699A430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37" name="Přímá spojnice 36">
            <a:extLst>
              <a:ext uri="{FF2B5EF4-FFF2-40B4-BE49-F238E27FC236}">
                <a16:creationId xmlns:a16="http://schemas.microsoft.com/office/drawing/2014/main" id="{DFB89589-BFE9-45F6-901D-B7A0675A09E4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C6019A60-6777-485F-B520-5F90CDD11EEE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1DF10E7E-A45C-4DCF-B638-5A352E3E34EF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411B8840-C4E0-46F9-B7FD-84881A9364D1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215718AB-94FD-4697-B39B-620F0600FA1B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47344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Plzeňský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C62FD582-F127-4B26-8DD9-E7C97F101DA5}"/>
              </a:ext>
            </a:extLst>
          </p:cNvPr>
          <p:cNvGrpSpPr/>
          <p:nvPr/>
        </p:nvGrpSpPr>
        <p:grpSpPr>
          <a:xfrm>
            <a:off x="10808484" y="603203"/>
            <a:ext cx="1351617" cy="270349"/>
            <a:chOff x="12377686" y="5757722"/>
            <a:chExt cx="1982477" cy="396533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2D95C4C7-A26F-406C-9CEE-DD7B329036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7686" y="5788188"/>
              <a:ext cx="304979" cy="365828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E1FE654C-29EB-40A0-B22D-E3EE463F233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45786" y="5757722"/>
              <a:ext cx="1514377" cy="396533"/>
            </a:xfrm>
            <a:prstGeom prst="rect">
              <a:avLst/>
            </a:prstGeom>
          </p:spPr>
        </p:pic>
      </p:grpSp>
      <p:graphicFrame>
        <p:nvGraphicFramePr>
          <p:cNvPr id="25" name="Chart 4">
            <a:extLst>
              <a:ext uri="{FF2B5EF4-FFF2-40B4-BE49-F238E27FC236}">
                <a16:creationId xmlns:a16="http://schemas.microsoft.com/office/drawing/2014/main" id="{5D038867-9827-497F-BB93-3FFEA37343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07594507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3" name="TextovéPole 62">
            <a:extLst>
              <a:ext uri="{FF2B5EF4-FFF2-40B4-BE49-F238E27FC236}">
                <a16:creationId xmlns:a16="http://schemas.microsoft.com/office/drawing/2014/main" id="{B73A6032-AF0C-4D70-A5D3-6C95C3B0F4CF}"/>
              </a:ext>
            </a:extLst>
          </p:cNvPr>
          <p:cNvSpPr txBox="1"/>
          <p:nvPr/>
        </p:nvSpPr>
        <p:spPr>
          <a:xfrm>
            <a:off x="10261720" y="2571841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. 10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442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63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72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09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210B33C2-6590-4DF8-B409-6A90B836A65D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cxnSp>
        <p:nvCxnSpPr>
          <p:cNvPr id="29" name="Přímá spojnice se šipkou 28">
            <a:extLst>
              <a:ext uri="{FF2B5EF4-FFF2-40B4-BE49-F238E27FC236}">
                <a16:creationId xmlns:a16="http://schemas.microsoft.com/office/drawing/2014/main" id="{0F9C5BEC-75DB-4B2E-B26E-DDEBCD242D2C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Přímá spojnice se šipkou 45">
            <a:extLst>
              <a:ext uri="{FF2B5EF4-FFF2-40B4-BE49-F238E27FC236}">
                <a16:creationId xmlns:a16="http://schemas.microsoft.com/office/drawing/2014/main" id="{60475E54-9FCB-427B-8986-AE87EBE30965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6">
            <a:extLst>
              <a:ext uri="{FF2B5EF4-FFF2-40B4-BE49-F238E27FC236}">
                <a16:creationId xmlns:a16="http://schemas.microsoft.com/office/drawing/2014/main" id="{ACA59DD8-B76A-4DF4-BF8B-4D8A7A874739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ovéPole 47">
            <a:extLst>
              <a:ext uri="{FF2B5EF4-FFF2-40B4-BE49-F238E27FC236}">
                <a16:creationId xmlns:a16="http://schemas.microsoft.com/office/drawing/2014/main" id="{6B839D9A-BA55-493D-B0B6-FFA6B34307CF}"/>
              </a:ext>
            </a:extLst>
          </p:cNvPr>
          <p:cNvSpPr txBox="1"/>
          <p:nvPr/>
        </p:nvSpPr>
        <p:spPr>
          <a:xfrm>
            <a:off x="8249941" y="2790122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Obdélník 48">
            <a:extLst>
              <a:ext uri="{FF2B5EF4-FFF2-40B4-BE49-F238E27FC236}">
                <a16:creationId xmlns:a16="http://schemas.microsoft.com/office/drawing/2014/main" id="{0047291E-1904-448C-9782-EB0017511F38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23. 9. až 30. 9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53" name="TextovéPole 52">
            <a:extLst>
              <a:ext uri="{FF2B5EF4-FFF2-40B4-BE49-F238E27FC236}">
                <a16:creationId xmlns:a16="http://schemas.microsoft.com/office/drawing/2014/main" id="{35703CFF-CDEC-4D17-89E3-95C99BC602B3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60</a:t>
            </a: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5607EAF4-6B49-4AFE-A33A-C2C83DEB957D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omalého růstu, R = 1,20</a:t>
            </a:r>
          </a:p>
        </p:txBody>
      </p:sp>
      <p:sp>
        <p:nvSpPr>
          <p:cNvPr id="56" name="Obdélník 55">
            <a:extLst>
              <a:ext uri="{FF2B5EF4-FFF2-40B4-BE49-F238E27FC236}">
                <a16:creationId xmlns:a16="http://schemas.microsoft.com/office/drawing/2014/main" id="{40AA1B24-61EF-413A-9CBD-006075ADCCD0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TextovéPole 56">
            <a:extLst>
              <a:ext uri="{FF2B5EF4-FFF2-40B4-BE49-F238E27FC236}">
                <a16:creationId xmlns:a16="http://schemas.microsoft.com/office/drawing/2014/main" id="{8A42C06A-5DCB-4E63-B556-59A26C772B85}"/>
              </a:ext>
            </a:extLst>
          </p:cNvPr>
          <p:cNvSpPr txBox="1"/>
          <p:nvPr/>
        </p:nvSpPr>
        <p:spPr>
          <a:xfrm>
            <a:off x="4467521" y="278925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60</a:t>
            </a:r>
          </a:p>
        </p:txBody>
      </p:sp>
      <p:cxnSp>
        <p:nvCxnSpPr>
          <p:cNvPr id="58" name="Přímá spojnice 57">
            <a:extLst>
              <a:ext uri="{FF2B5EF4-FFF2-40B4-BE49-F238E27FC236}">
                <a16:creationId xmlns:a16="http://schemas.microsoft.com/office/drawing/2014/main" id="{73D5B7C5-C00B-452B-A675-94F8AE153B19}"/>
              </a:ext>
            </a:extLst>
          </p:cNvPr>
          <p:cNvCxnSpPr>
            <a:cxnSpLocks/>
          </p:cNvCxnSpPr>
          <p:nvPr/>
        </p:nvCxnSpPr>
        <p:spPr>
          <a:xfrm>
            <a:off x="4173268" y="29442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9D910823-B87C-4D5A-A668-392314A67599}"/>
              </a:ext>
            </a:extLst>
          </p:cNvPr>
          <p:cNvSpPr txBox="1"/>
          <p:nvPr/>
        </p:nvSpPr>
        <p:spPr>
          <a:xfrm>
            <a:off x="4467521" y="29967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60" name="Přímá spojnice 59">
            <a:extLst>
              <a:ext uri="{FF2B5EF4-FFF2-40B4-BE49-F238E27FC236}">
                <a16:creationId xmlns:a16="http://schemas.microsoft.com/office/drawing/2014/main" id="{2F9C9F71-5526-4F22-831C-C5F33E63B13E}"/>
              </a:ext>
            </a:extLst>
          </p:cNvPr>
          <p:cNvCxnSpPr>
            <a:cxnSpLocks/>
          </p:cNvCxnSpPr>
          <p:nvPr/>
        </p:nvCxnSpPr>
        <p:spPr>
          <a:xfrm>
            <a:off x="4173268" y="3167595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A8154912-CC49-48DE-AFD3-3E5492C81170}"/>
              </a:ext>
            </a:extLst>
          </p:cNvPr>
          <p:cNvCxnSpPr>
            <a:cxnSpLocks/>
          </p:cNvCxnSpPr>
          <p:nvPr/>
        </p:nvCxnSpPr>
        <p:spPr>
          <a:xfrm>
            <a:off x="4173268" y="3572343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62" name="TextovéPole 61">
            <a:extLst>
              <a:ext uri="{FF2B5EF4-FFF2-40B4-BE49-F238E27FC236}">
                <a16:creationId xmlns:a16="http://schemas.microsoft.com/office/drawing/2014/main" id="{808C68E3-38D3-4FD4-9349-D1626AE754E1}"/>
              </a:ext>
            </a:extLst>
          </p:cNvPr>
          <p:cNvSpPr txBox="1"/>
          <p:nvPr/>
        </p:nvSpPr>
        <p:spPr>
          <a:xfrm>
            <a:off x="4467521" y="3423047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10. 2021)</a:t>
            </a:r>
          </a:p>
        </p:txBody>
      </p:sp>
      <p:sp>
        <p:nvSpPr>
          <p:cNvPr id="64" name="TextovéPole 63">
            <a:extLst>
              <a:ext uri="{FF2B5EF4-FFF2-40B4-BE49-F238E27FC236}">
                <a16:creationId xmlns:a16="http://schemas.microsoft.com/office/drawing/2014/main" id="{153AD532-FE17-448F-BB91-495731511E31}"/>
              </a:ext>
            </a:extLst>
          </p:cNvPr>
          <p:cNvSpPr txBox="1"/>
          <p:nvPr/>
        </p:nvSpPr>
        <p:spPr>
          <a:xfrm>
            <a:off x="4468013" y="3216570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65" name="Přímá spojnice 64">
            <a:extLst>
              <a:ext uri="{FF2B5EF4-FFF2-40B4-BE49-F238E27FC236}">
                <a16:creationId xmlns:a16="http://schemas.microsoft.com/office/drawing/2014/main" id="{EA285ACB-9F99-4C9E-98B7-C7CDFD5C755B}"/>
              </a:ext>
            </a:extLst>
          </p:cNvPr>
          <p:cNvCxnSpPr>
            <a:cxnSpLocks/>
          </p:cNvCxnSpPr>
          <p:nvPr/>
        </p:nvCxnSpPr>
        <p:spPr>
          <a:xfrm>
            <a:off x="4173268" y="3367779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0589621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Plzeňs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769A89A7-DAB2-440B-B308-CC59CEAFF99B}"/>
              </a:ext>
            </a:extLst>
          </p:cNvPr>
          <p:cNvGrpSpPr/>
          <p:nvPr/>
        </p:nvGrpSpPr>
        <p:grpSpPr>
          <a:xfrm>
            <a:off x="10808484" y="603203"/>
            <a:ext cx="1351617" cy="270349"/>
            <a:chOff x="12377686" y="5757722"/>
            <a:chExt cx="1982477" cy="396533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A8D76F95-54CC-4BF7-9E50-277CA7F9C3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7686" y="5788188"/>
              <a:ext cx="304979" cy="365828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05C61523-313B-457A-BE4A-AF29BAB17E6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45786" y="5757722"/>
              <a:ext cx="1514377" cy="396533"/>
            </a:xfrm>
            <a:prstGeom prst="rect">
              <a:avLst/>
            </a:prstGeom>
          </p:spPr>
        </p:pic>
      </p:grpSp>
      <p:graphicFrame>
        <p:nvGraphicFramePr>
          <p:cNvPr id="23" name="Chart 4">
            <a:extLst>
              <a:ext uri="{FF2B5EF4-FFF2-40B4-BE49-F238E27FC236}">
                <a16:creationId xmlns:a16="http://schemas.microsoft.com/office/drawing/2014/main" id="{61FF1AAF-B9A2-458B-9741-4247E17FFB5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52356475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2" name="TextovéPole 51">
            <a:extLst>
              <a:ext uri="{FF2B5EF4-FFF2-40B4-BE49-F238E27FC236}">
                <a16:creationId xmlns:a16="http://schemas.microsoft.com/office/drawing/2014/main" id="{8965D1BE-342D-4ADB-9132-74271855CF9C}"/>
              </a:ext>
            </a:extLst>
          </p:cNvPr>
          <p:cNvSpPr txBox="1"/>
          <p:nvPr/>
        </p:nvSpPr>
        <p:spPr>
          <a:xfrm>
            <a:off x="8220623" y="1901513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. 10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328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09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42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93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54" name="TextBox 6">
            <a:extLst>
              <a:ext uri="{FF2B5EF4-FFF2-40B4-BE49-F238E27FC236}">
                <a16:creationId xmlns:a16="http://schemas.microsoft.com/office/drawing/2014/main" id="{684CCF87-CC70-479D-ADC3-6E9E0F99A046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57" name="TextovéPole 56">
            <a:extLst>
              <a:ext uri="{FF2B5EF4-FFF2-40B4-BE49-F238E27FC236}">
                <a16:creationId xmlns:a16="http://schemas.microsoft.com/office/drawing/2014/main" id="{60200062-D7D0-4C65-80D1-3E10ADCB951C}"/>
              </a:ext>
            </a:extLst>
          </p:cNvPr>
          <p:cNvSpPr txBox="1"/>
          <p:nvPr/>
        </p:nvSpPr>
        <p:spPr>
          <a:xfrm>
            <a:off x="7733973" y="1586452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58" name="TextovéPole 57">
            <a:extLst>
              <a:ext uri="{FF2B5EF4-FFF2-40B4-BE49-F238E27FC236}">
                <a16:creationId xmlns:a16="http://schemas.microsoft.com/office/drawing/2014/main" id="{B8EC1509-4F26-4045-B315-DA57B28BFA72}"/>
              </a:ext>
            </a:extLst>
          </p:cNvPr>
          <p:cNvSpPr txBox="1"/>
          <p:nvPr/>
        </p:nvSpPr>
        <p:spPr>
          <a:xfrm>
            <a:off x="11583120" y="4412502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440AC9D3-763F-400F-99DC-ED27E3DBAE0B}"/>
              </a:ext>
            </a:extLst>
          </p:cNvPr>
          <p:cNvSpPr txBox="1"/>
          <p:nvPr/>
        </p:nvSpPr>
        <p:spPr>
          <a:xfrm>
            <a:off x="11583120" y="4986575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3F5C76EA-91EE-4D5D-B984-81E5F286244F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23. 9. až 30. 9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D60A43F2-5963-4B56-A93A-741B27A79AD4}"/>
              </a:ext>
            </a:extLst>
          </p:cNvPr>
          <p:cNvSpPr txBox="1"/>
          <p:nvPr/>
        </p:nvSpPr>
        <p:spPr>
          <a:xfrm>
            <a:off x="5472652" y="100135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4B457735-F111-473D-A636-5641867AA835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9DAA3BA8-6F80-4AAC-B5D0-0DBCAF6D7B7F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8F6C05C8-C495-43E6-B658-6309DD553D7E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B5D845F8-B6E7-4726-A6D2-508D6039B829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48" name="Přímá spojnice 47">
            <a:extLst>
              <a:ext uri="{FF2B5EF4-FFF2-40B4-BE49-F238E27FC236}">
                <a16:creationId xmlns:a16="http://schemas.microsoft.com/office/drawing/2014/main" id="{9883F0FC-1522-4506-96D2-E33EC7843DCE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Přímá spojnice 49">
            <a:extLst>
              <a:ext uri="{FF2B5EF4-FFF2-40B4-BE49-F238E27FC236}">
                <a16:creationId xmlns:a16="http://schemas.microsoft.com/office/drawing/2014/main" id="{2EF49B7E-05B3-49DD-A68E-356B911A2FB0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52FA79DD-3431-41C9-ACFA-DC3DC7CFB236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53" name="TextovéPole 52">
            <a:extLst>
              <a:ext uri="{FF2B5EF4-FFF2-40B4-BE49-F238E27FC236}">
                <a16:creationId xmlns:a16="http://schemas.microsoft.com/office/drawing/2014/main" id="{54A2D255-5089-4D8F-B490-3C09DF45D4D1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55" name="Přímá spojnice 54">
            <a:extLst>
              <a:ext uri="{FF2B5EF4-FFF2-40B4-BE49-F238E27FC236}">
                <a16:creationId xmlns:a16="http://schemas.microsoft.com/office/drawing/2014/main" id="{8537C9FF-9CD6-4105-9C56-89041B4DAC5C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34747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Karlovarský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FFBFC422-E236-4B21-AB38-11C2E04C46CE}"/>
              </a:ext>
            </a:extLst>
          </p:cNvPr>
          <p:cNvGrpSpPr/>
          <p:nvPr/>
        </p:nvGrpSpPr>
        <p:grpSpPr>
          <a:xfrm>
            <a:off x="10932032" y="591658"/>
            <a:ext cx="1158835" cy="360249"/>
            <a:chOff x="12375318" y="2247704"/>
            <a:chExt cx="1580446" cy="491316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D0D3736C-EAE3-484F-AA0F-92A696BFF6A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2284346"/>
              <a:ext cx="377379" cy="454674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14B45D1E-2D06-41E6-A578-E0B71576AF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82808" y="2247704"/>
              <a:ext cx="1072956" cy="490274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AA678E63-6786-48FF-A3BC-E2ECA97836A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64035812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5" name="TextovéPole 64">
            <a:extLst>
              <a:ext uri="{FF2B5EF4-FFF2-40B4-BE49-F238E27FC236}">
                <a16:creationId xmlns:a16="http://schemas.microsoft.com/office/drawing/2014/main" id="{3F76A50E-F468-4684-A1FA-11052778EB9A}"/>
              </a:ext>
            </a:extLst>
          </p:cNvPr>
          <p:cNvSpPr txBox="1"/>
          <p:nvPr/>
        </p:nvSpPr>
        <p:spPr>
          <a:xfrm>
            <a:off x="10261720" y="2802662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. 10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103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61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40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25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61993AF7-E3D7-4CCB-BFF3-333B77C1D7B7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cxnSp>
        <p:nvCxnSpPr>
          <p:cNvPr id="45" name="Přímá spojnice se šipkou 44">
            <a:extLst>
              <a:ext uri="{FF2B5EF4-FFF2-40B4-BE49-F238E27FC236}">
                <a16:creationId xmlns:a16="http://schemas.microsoft.com/office/drawing/2014/main" id="{1E71497B-E6C6-47BA-B73D-F6B7ED30DD73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Přímá spojnice se šipkou 45">
            <a:extLst>
              <a:ext uri="{FF2B5EF4-FFF2-40B4-BE49-F238E27FC236}">
                <a16:creationId xmlns:a16="http://schemas.microsoft.com/office/drawing/2014/main" id="{F07BC72E-7995-49F0-9D5B-1667A91DE11F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6">
            <a:extLst>
              <a:ext uri="{FF2B5EF4-FFF2-40B4-BE49-F238E27FC236}">
                <a16:creationId xmlns:a16="http://schemas.microsoft.com/office/drawing/2014/main" id="{721F081B-84F3-4BC7-91DF-37C96E34851F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ovéPole 47">
            <a:extLst>
              <a:ext uri="{FF2B5EF4-FFF2-40B4-BE49-F238E27FC236}">
                <a16:creationId xmlns:a16="http://schemas.microsoft.com/office/drawing/2014/main" id="{48113B2C-2B76-47D9-BEC0-7F240C035C1F}"/>
              </a:ext>
            </a:extLst>
          </p:cNvPr>
          <p:cNvSpPr txBox="1"/>
          <p:nvPr/>
        </p:nvSpPr>
        <p:spPr>
          <a:xfrm>
            <a:off x="8249941" y="2790122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Obdélník 48">
            <a:extLst>
              <a:ext uri="{FF2B5EF4-FFF2-40B4-BE49-F238E27FC236}">
                <a16:creationId xmlns:a16="http://schemas.microsoft.com/office/drawing/2014/main" id="{6C2E129F-2129-423F-92CB-485D38E022E5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23. 9. až 30. 9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50" name="TextovéPole 49">
            <a:extLst>
              <a:ext uri="{FF2B5EF4-FFF2-40B4-BE49-F238E27FC236}">
                <a16:creationId xmlns:a16="http://schemas.microsoft.com/office/drawing/2014/main" id="{48288E22-9FEE-46BD-83E8-B5556516C1A3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60</a:t>
            </a:r>
          </a:p>
        </p:txBody>
      </p: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6FDD60D0-E0BA-434B-BA7F-0899D96B6083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omalého růstu, R = 1,20</a:t>
            </a:r>
          </a:p>
        </p:txBody>
      </p:sp>
      <p:sp>
        <p:nvSpPr>
          <p:cNvPr id="55" name="Obdélník 54">
            <a:extLst>
              <a:ext uri="{FF2B5EF4-FFF2-40B4-BE49-F238E27FC236}">
                <a16:creationId xmlns:a16="http://schemas.microsoft.com/office/drawing/2014/main" id="{AFFEE0C2-2851-4C21-A686-5C13250FDC48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TextovéPole 55">
            <a:extLst>
              <a:ext uri="{FF2B5EF4-FFF2-40B4-BE49-F238E27FC236}">
                <a16:creationId xmlns:a16="http://schemas.microsoft.com/office/drawing/2014/main" id="{AE449DA0-0470-4748-8941-AD6D44A88351}"/>
              </a:ext>
            </a:extLst>
          </p:cNvPr>
          <p:cNvSpPr txBox="1"/>
          <p:nvPr/>
        </p:nvSpPr>
        <p:spPr>
          <a:xfrm>
            <a:off x="4467521" y="278925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60</a:t>
            </a:r>
          </a:p>
        </p:txBody>
      </p:sp>
      <p:cxnSp>
        <p:nvCxnSpPr>
          <p:cNvPr id="58" name="Přímá spojnice 57">
            <a:extLst>
              <a:ext uri="{FF2B5EF4-FFF2-40B4-BE49-F238E27FC236}">
                <a16:creationId xmlns:a16="http://schemas.microsoft.com/office/drawing/2014/main" id="{A6ABD531-EE16-4A55-81B7-83535F3A03AB}"/>
              </a:ext>
            </a:extLst>
          </p:cNvPr>
          <p:cNvCxnSpPr>
            <a:cxnSpLocks/>
          </p:cNvCxnSpPr>
          <p:nvPr/>
        </p:nvCxnSpPr>
        <p:spPr>
          <a:xfrm>
            <a:off x="4173268" y="29442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CFC2445D-55BD-418B-8C0D-55FE0154A443}"/>
              </a:ext>
            </a:extLst>
          </p:cNvPr>
          <p:cNvSpPr txBox="1"/>
          <p:nvPr/>
        </p:nvSpPr>
        <p:spPr>
          <a:xfrm>
            <a:off x="4467521" y="29967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60" name="Přímá spojnice 59">
            <a:extLst>
              <a:ext uri="{FF2B5EF4-FFF2-40B4-BE49-F238E27FC236}">
                <a16:creationId xmlns:a16="http://schemas.microsoft.com/office/drawing/2014/main" id="{6A0C9399-E809-450A-AFD8-43B1569A0C09}"/>
              </a:ext>
            </a:extLst>
          </p:cNvPr>
          <p:cNvCxnSpPr>
            <a:cxnSpLocks/>
          </p:cNvCxnSpPr>
          <p:nvPr/>
        </p:nvCxnSpPr>
        <p:spPr>
          <a:xfrm>
            <a:off x="4173268" y="3167595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271757E2-22F7-4D09-AC72-CBEC301200C8}"/>
              </a:ext>
            </a:extLst>
          </p:cNvPr>
          <p:cNvCxnSpPr>
            <a:cxnSpLocks/>
          </p:cNvCxnSpPr>
          <p:nvPr/>
        </p:nvCxnSpPr>
        <p:spPr>
          <a:xfrm>
            <a:off x="4173268" y="3572343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62" name="TextovéPole 61">
            <a:extLst>
              <a:ext uri="{FF2B5EF4-FFF2-40B4-BE49-F238E27FC236}">
                <a16:creationId xmlns:a16="http://schemas.microsoft.com/office/drawing/2014/main" id="{589D3EA0-4444-4628-BA90-09161B3CE17D}"/>
              </a:ext>
            </a:extLst>
          </p:cNvPr>
          <p:cNvSpPr txBox="1"/>
          <p:nvPr/>
        </p:nvSpPr>
        <p:spPr>
          <a:xfrm>
            <a:off x="4467521" y="3423047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10. 2021)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89A3EA03-2A2B-4DD5-A251-22173E7B8728}"/>
              </a:ext>
            </a:extLst>
          </p:cNvPr>
          <p:cNvSpPr txBox="1"/>
          <p:nvPr/>
        </p:nvSpPr>
        <p:spPr>
          <a:xfrm>
            <a:off x="4468013" y="3216570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64" name="Přímá spojnice 63">
            <a:extLst>
              <a:ext uri="{FF2B5EF4-FFF2-40B4-BE49-F238E27FC236}">
                <a16:creationId xmlns:a16="http://schemas.microsoft.com/office/drawing/2014/main" id="{48E13FEE-051A-478D-8435-17BDF37561EE}"/>
              </a:ext>
            </a:extLst>
          </p:cNvPr>
          <p:cNvCxnSpPr>
            <a:cxnSpLocks/>
          </p:cNvCxnSpPr>
          <p:nvPr/>
        </p:nvCxnSpPr>
        <p:spPr>
          <a:xfrm>
            <a:off x="4173268" y="3367779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4959027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Karlovars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776E8261-2B67-4C33-B4F7-528BFCEC26E0}"/>
              </a:ext>
            </a:extLst>
          </p:cNvPr>
          <p:cNvGrpSpPr/>
          <p:nvPr/>
        </p:nvGrpSpPr>
        <p:grpSpPr>
          <a:xfrm>
            <a:off x="10932032" y="583269"/>
            <a:ext cx="1158835" cy="360249"/>
            <a:chOff x="12375318" y="2247704"/>
            <a:chExt cx="1580446" cy="491316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CC6750D1-766B-4DC6-A446-888FBBECA4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2284346"/>
              <a:ext cx="377379" cy="454674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EA8558FC-EC62-4A66-84EF-00BCCE67853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82808" y="2247704"/>
              <a:ext cx="1072956" cy="490274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526224FA-9FB7-4B1B-A3B8-F29890F54BB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99637341"/>
              </p:ext>
            </p:extLst>
          </p:nvPr>
        </p:nvGraphicFramePr>
        <p:xfrm>
          <a:off x="254705" y="1205099"/>
          <a:ext cx="11354940" cy="57588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4" name="TextovéPole 53">
            <a:extLst>
              <a:ext uri="{FF2B5EF4-FFF2-40B4-BE49-F238E27FC236}">
                <a16:creationId xmlns:a16="http://schemas.microsoft.com/office/drawing/2014/main" id="{8DAAD650-DDE7-47E5-B0B7-547D3C3FAB88}"/>
              </a:ext>
            </a:extLst>
          </p:cNvPr>
          <p:cNvSpPr txBox="1"/>
          <p:nvPr/>
        </p:nvSpPr>
        <p:spPr>
          <a:xfrm>
            <a:off x="8205203" y="1956769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. 10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155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98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66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44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56" name="TextBox 6">
            <a:extLst>
              <a:ext uri="{FF2B5EF4-FFF2-40B4-BE49-F238E27FC236}">
                <a16:creationId xmlns:a16="http://schemas.microsoft.com/office/drawing/2014/main" id="{CFB01BA7-B3B3-43DD-A979-3DB4E10D06CE}"/>
              </a:ext>
            </a:extLst>
          </p:cNvPr>
          <p:cNvSpPr txBox="1"/>
          <p:nvPr/>
        </p:nvSpPr>
        <p:spPr>
          <a:xfrm rot="16200000">
            <a:off x="-1499672" y="3699517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2E9BE466-40EE-423B-9263-D46C6B5F3FD9}"/>
              </a:ext>
            </a:extLst>
          </p:cNvPr>
          <p:cNvSpPr txBox="1"/>
          <p:nvPr/>
        </p:nvSpPr>
        <p:spPr>
          <a:xfrm>
            <a:off x="7691121" y="1654062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FAB4FD73-3EC5-4F0B-8CE3-063C5021AA9E}"/>
              </a:ext>
            </a:extLst>
          </p:cNvPr>
          <p:cNvSpPr txBox="1"/>
          <p:nvPr/>
        </p:nvSpPr>
        <p:spPr>
          <a:xfrm>
            <a:off x="11284167" y="353178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799379C0-2EB0-44E8-9795-0B0398F3DA95}"/>
              </a:ext>
            </a:extLst>
          </p:cNvPr>
          <p:cNvSpPr txBox="1"/>
          <p:nvPr/>
        </p:nvSpPr>
        <p:spPr>
          <a:xfrm>
            <a:off x="11292640" y="4648787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E2836687-AA6B-496F-84C6-4B6D9D9B0660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23. 9. až 30. 9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AEAA020E-91F9-4B07-A7F1-978DB163A6E3}"/>
              </a:ext>
            </a:extLst>
          </p:cNvPr>
          <p:cNvSpPr txBox="1"/>
          <p:nvPr/>
        </p:nvSpPr>
        <p:spPr>
          <a:xfrm>
            <a:off x="5472652" y="100135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503B739-7A3B-4212-812E-F10BC7282D32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88FB7FB9-0F92-4AB8-99EE-D1EAB767265F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D91DC5FD-D859-4DCF-A001-2CD89B4B47F9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65747E76-F141-4432-9B2A-0F65AF62AB1E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49" name="Přímá spojnice 48">
            <a:extLst>
              <a:ext uri="{FF2B5EF4-FFF2-40B4-BE49-F238E27FC236}">
                <a16:creationId xmlns:a16="http://schemas.microsoft.com/office/drawing/2014/main" id="{787B2B25-C85C-4A09-8996-F7DB7B8BC56E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Přímá spojnice 49">
            <a:extLst>
              <a:ext uri="{FF2B5EF4-FFF2-40B4-BE49-F238E27FC236}">
                <a16:creationId xmlns:a16="http://schemas.microsoft.com/office/drawing/2014/main" id="{483CD473-4D09-4CA1-B4BF-52AFBAA488A1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15C4C361-9ED6-4D34-87F5-4A1EE8661CD5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F97096D7-1030-4D9D-BD81-B5F89720E3E2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53" name="Přímá spojnice 52">
            <a:extLst>
              <a:ext uri="{FF2B5EF4-FFF2-40B4-BE49-F238E27FC236}">
                <a16:creationId xmlns:a16="http://schemas.microsoft.com/office/drawing/2014/main" id="{489E8C72-C615-4B00-8846-A46A16231201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87286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</a:t>
            </a:r>
            <a:r>
              <a:rPr lang="cs-CZ" dirty="0"/>
              <a:t>Ústecký</a:t>
            </a:r>
            <a:r>
              <a:rPr lang="cs-CZ" dirty="0">
                <a:latin typeface="+mj-lt"/>
              </a:rPr>
              <a:t>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55CA98E9-3F12-45A5-B245-E25115DAE662}"/>
              </a:ext>
            </a:extLst>
          </p:cNvPr>
          <p:cNvGrpSpPr/>
          <p:nvPr/>
        </p:nvGrpSpPr>
        <p:grpSpPr>
          <a:xfrm>
            <a:off x="11002009" y="622266"/>
            <a:ext cx="1106941" cy="258352"/>
            <a:chOff x="12381998" y="598524"/>
            <a:chExt cx="2097028" cy="489432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1010AB9B-9544-4928-B356-5BDE371FA8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81998" y="608400"/>
              <a:ext cx="388441" cy="4795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9862A44F-3ED3-415B-B88C-C1161FBFD8F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51434" y="598524"/>
              <a:ext cx="1627592" cy="470468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D7ABFEE1-0546-4345-AE0D-B2F2EED9233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20847925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5" name="TextovéPole 64">
            <a:extLst>
              <a:ext uri="{FF2B5EF4-FFF2-40B4-BE49-F238E27FC236}">
                <a16:creationId xmlns:a16="http://schemas.microsoft.com/office/drawing/2014/main" id="{44F05F90-1201-43E1-ADB9-3E2F0534D65A}"/>
              </a:ext>
            </a:extLst>
          </p:cNvPr>
          <p:cNvSpPr txBox="1"/>
          <p:nvPr/>
        </p:nvSpPr>
        <p:spPr>
          <a:xfrm>
            <a:off x="10313298" y="2605102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. 10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574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341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223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42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0410593E-6D0B-495E-A647-4F741027F05E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cxnSp>
        <p:nvCxnSpPr>
          <p:cNvPr id="45" name="Přímá spojnice se šipkou 44">
            <a:extLst>
              <a:ext uri="{FF2B5EF4-FFF2-40B4-BE49-F238E27FC236}">
                <a16:creationId xmlns:a16="http://schemas.microsoft.com/office/drawing/2014/main" id="{3396E37C-3C60-4684-A9D2-D8EBF4EF0F03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Přímá spojnice se šipkou 45">
            <a:extLst>
              <a:ext uri="{FF2B5EF4-FFF2-40B4-BE49-F238E27FC236}">
                <a16:creationId xmlns:a16="http://schemas.microsoft.com/office/drawing/2014/main" id="{54774B8F-4AEB-4934-BBDF-772715C1D91D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6">
            <a:extLst>
              <a:ext uri="{FF2B5EF4-FFF2-40B4-BE49-F238E27FC236}">
                <a16:creationId xmlns:a16="http://schemas.microsoft.com/office/drawing/2014/main" id="{7A22FC7D-E044-4FA8-830B-A6504E1CA73E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ovéPole 47">
            <a:extLst>
              <a:ext uri="{FF2B5EF4-FFF2-40B4-BE49-F238E27FC236}">
                <a16:creationId xmlns:a16="http://schemas.microsoft.com/office/drawing/2014/main" id="{0117593F-084F-4E1C-8153-8FBDA90AD48A}"/>
              </a:ext>
            </a:extLst>
          </p:cNvPr>
          <p:cNvSpPr txBox="1"/>
          <p:nvPr/>
        </p:nvSpPr>
        <p:spPr>
          <a:xfrm>
            <a:off x="8249941" y="2790122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Obdélník 48">
            <a:extLst>
              <a:ext uri="{FF2B5EF4-FFF2-40B4-BE49-F238E27FC236}">
                <a16:creationId xmlns:a16="http://schemas.microsoft.com/office/drawing/2014/main" id="{C4C71D97-F7C4-457B-B463-61371EA2C49F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23. 9. až 30. 9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50" name="TextovéPole 49">
            <a:extLst>
              <a:ext uri="{FF2B5EF4-FFF2-40B4-BE49-F238E27FC236}">
                <a16:creationId xmlns:a16="http://schemas.microsoft.com/office/drawing/2014/main" id="{D9EC83CF-5363-4B04-9134-AFDA62375714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60</a:t>
            </a:r>
          </a:p>
        </p:txBody>
      </p: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87CA900B-9471-48F3-ACBC-971EEE14E6D9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omalého růstu, R = 1,20</a:t>
            </a:r>
          </a:p>
        </p:txBody>
      </p:sp>
      <p:sp>
        <p:nvSpPr>
          <p:cNvPr id="55" name="Obdélník 54">
            <a:extLst>
              <a:ext uri="{FF2B5EF4-FFF2-40B4-BE49-F238E27FC236}">
                <a16:creationId xmlns:a16="http://schemas.microsoft.com/office/drawing/2014/main" id="{0EBB5726-F1BA-459E-A406-ACEDD68477C8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TextovéPole 55">
            <a:extLst>
              <a:ext uri="{FF2B5EF4-FFF2-40B4-BE49-F238E27FC236}">
                <a16:creationId xmlns:a16="http://schemas.microsoft.com/office/drawing/2014/main" id="{423B712B-7548-44FF-B4D1-BD6795E51D85}"/>
              </a:ext>
            </a:extLst>
          </p:cNvPr>
          <p:cNvSpPr txBox="1"/>
          <p:nvPr/>
        </p:nvSpPr>
        <p:spPr>
          <a:xfrm>
            <a:off x="4467521" y="278925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60</a:t>
            </a:r>
          </a:p>
        </p:txBody>
      </p:sp>
      <p:cxnSp>
        <p:nvCxnSpPr>
          <p:cNvPr id="58" name="Přímá spojnice 57">
            <a:extLst>
              <a:ext uri="{FF2B5EF4-FFF2-40B4-BE49-F238E27FC236}">
                <a16:creationId xmlns:a16="http://schemas.microsoft.com/office/drawing/2014/main" id="{C2CD4F10-001D-4594-AC85-91EA2EC3CC74}"/>
              </a:ext>
            </a:extLst>
          </p:cNvPr>
          <p:cNvCxnSpPr>
            <a:cxnSpLocks/>
          </p:cNvCxnSpPr>
          <p:nvPr/>
        </p:nvCxnSpPr>
        <p:spPr>
          <a:xfrm>
            <a:off x="4173268" y="29442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535D4DE7-A10E-4931-A817-3C6A6B970B45}"/>
              </a:ext>
            </a:extLst>
          </p:cNvPr>
          <p:cNvSpPr txBox="1"/>
          <p:nvPr/>
        </p:nvSpPr>
        <p:spPr>
          <a:xfrm>
            <a:off x="4467521" y="29967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60" name="Přímá spojnice 59">
            <a:extLst>
              <a:ext uri="{FF2B5EF4-FFF2-40B4-BE49-F238E27FC236}">
                <a16:creationId xmlns:a16="http://schemas.microsoft.com/office/drawing/2014/main" id="{0F290B24-DE69-47C0-BE7D-1029288B91A3}"/>
              </a:ext>
            </a:extLst>
          </p:cNvPr>
          <p:cNvCxnSpPr>
            <a:cxnSpLocks/>
          </p:cNvCxnSpPr>
          <p:nvPr/>
        </p:nvCxnSpPr>
        <p:spPr>
          <a:xfrm>
            <a:off x="4173268" y="3167595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BA263637-CF87-4EE2-9381-CD9224367C46}"/>
              </a:ext>
            </a:extLst>
          </p:cNvPr>
          <p:cNvCxnSpPr>
            <a:cxnSpLocks/>
          </p:cNvCxnSpPr>
          <p:nvPr/>
        </p:nvCxnSpPr>
        <p:spPr>
          <a:xfrm>
            <a:off x="4173268" y="3572343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62" name="TextovéPole 61">
            <a:extLst>
              <a:ext uri="{FF2B5EF4-FFF2-40B4-BE49-F238E27FC236}">
                <a16:creationId xmlns:a16="http://schemas.microsoft.com/office/drawing/2014/main" id="{79FD1AAC-8445-48F1-9851-CD0CE3BE926C}"/>
              </a:ext>
            </a:extLst>
          </p:cNvPr>
          <p:cNvSpPr txBox="1"/>
          <p:nvPr/>
        </p:nvSpPr>
        <p:spPr>
          <a:xfrm>
            <a:off x="4467521" y="3423047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10. 2021)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2D150332-1DD7-4882-9719-EE98A4537E07}"/>
              </a:ext>
            </a:extLst>
          </p:cNvPr>
          <p:cNvSpPr txBox="1"/>
          <p:nvPr/>
        </p:nvSpPr>
        <p:spPr>
          <a:xfrm>
            <a:off x="4468013" y="3216570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64" name="Přímá spojnice 63">
            <a:extLst>
              <a:ext uri="{FF2B5EF4-FFF2-40B4-BE49-F238E27FC236}">
                <a16:creationId xmlns:a16="http://schemas.microsoft.com/office/drawing/2014/main" id="{BF3E75E1-D60E-48AE-BE3D-A4AF1386EC08}"/>
              </a:ext>
            </a:extLst>
          </p:cNvPr>
          <p:cNvCxnSpPr>
            <a:cxnSpLocks/>
          </p:cNvCxnSpPr>
          <p:nvPr/>
        </p:nvCxnSpPr>
        <p:spPr>
          <a:xfrm>
            <a:off x="4173268" y="3367779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417417246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</a:t>
            </a:r>
            <a:br>
              <a:rPr lang="cs-CZ" sz="1800" dirty="0">
                <a:latin typeface="+mj-lt"/>
              </a:rPr>
            </a:br>
            <a:r>
              <a:rPr lang="cs-CZ" sz="1800" dirty="0"/>
              <a:t>Ústec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D6F6FC35-B8B3-4DB0-86D7-49EAD913D3DA}"/>
              </a:ext>
            </a:extLst>
          </p:cNvPr>
          <p:cNvGrpSpPr/>
          <p:nvPr/>
        </p:nvGrpSpPr>
        <p:grpSpPr>
          <a:xfrm>
            <a:off x="11002009" y="622266"/>
            <a:ext cx="1106941" cy="258352"/>
            <a:chOff x="12381998" y="598524"/>
            <a:chExt cx="2097028" cy="489432"/>
          </a:xfrm>
        </p:grpSpPr>
        <p:pic>
          <p:nvPicPr>
            <p:cNvPr id="33" name="Picture 2">
              <a:extLst>
                <a:ext uri="{FF2B5EF4-FFF2-40B4-BE49-F238E27FC236}">
                  <a16:creationId xmlns:a16="http://schemas.microsoft.com/office/drawing/2014/main" id="{FBF10BED-F1F7-4361-BEC4-47E381B6731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81998" y="608400"/>
              <a:ext cx="388441" cy="4795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BB15BC3C-9CDB-4C5F-A62C-DE2A8D4D332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51434" y="598524"/>
              <a:ext cx="1627592" cy="470468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7ADD7188-A0C7-4A07-8FED-860A600B8A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01524863"/>
              </p:ext>
            </p:extLst>
          </p:nvPr>
        </p:nvGraphicFramePr>
        <p:xfrm>
          <a:off x="556549" y="1311634"/>
          <a:ext cx="11354940" cy="56050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4" name="TextovéPole 53">
            <a:extLst>
              <a:ext uri="{FF2B5EF4-FFF2-40B4-BE49-F238E27FC236}">
                <a16:creationId xmlns:a16="http://schemas.microsoft.com/office/drawing/2014/main" id="{32BF811D-3970-4D56-B898-EFAEE6C70ECF}"/>
              </a:ext>
            </a:extLst>
          </p:cNvPr>
          <p:cNvSpPr txBox="1"/>
          <p:nvPr/>
        </p:nvSpPr>
        <p:spPr>
          <a:xfrm>
            <a:off x="8073373" y="1839272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. 10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308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96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33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88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56" name="TextBox 6">
            <a:extLst>
              <a:ext uri="{FF2B5EF4-FFF2-40B4-BE49-F238E27FC236}">
                <a16:creationId xmlns:a16="http://schemas.microsoft.com/office/drawing/2014/main" id="{991F6454-ECF1-41FD-B341-F22744CEB1AB}"/>
              </a:ext>
            </a:extLst>
          </p:cNvPr>
          <p:cNvSpPr txBox="1"/>
          <p:nvPr/>
        </p:nvSpPr>
        <p:spPr>
          <a:xfrm rot="16200000">
            <a:off x="-1263868" y="368992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EA8AE70A-61DE-4B99-BFF9-585FB3CA8ECF}"/>
              </a:ext>
            </a:extLst>
          </p:cNvPr>
          <p:cNvSpPr txBox="1"/>
          <p:nvPr/>
        </p:nvSpPr>
        <p:spPr>
          <a:xfrm>
            <a:off x="7581574" y="1509708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98A62AAF-2CB0-4E8B-91BA-4B8965255F3A}"/>
              </a:ext>
            </a:extLst>
          </p:cNvPr>
          <p:cNvSpPr txBox="1"/>
          <p:nvPr/>
        </p:nvSpPr>
        <p:spPr>
          <a:xfrm>
            <a:off x="11611833" y="3846962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DB4D4B02-CC39-426C-83D8-65A9DD8A16E6}"/>
              </a:ext>
            </a:extLst>
          </p:cNvPr>
          <p:cNvSpPr txBox="1"/>
          <p:nvPr/>
        </p:nvSpPr>
        <p:spPr>
          <a:xfrm>
            <a:off x="11611833" y="4837548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038BBE9-3C3D-4D78-A653-665110142D6D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23. 9. až 30. 9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781368BD-A7DC-4B2E-B95D-37136848F0BB}"/>
              </a:ext>
            </a:extLst>
          </p:cNvPr>
          <p:cNvSpPr txBox="1"/>
          <p:nvPr/>
        </p:nvSpPr>
        <p:spPr>
          <a:xfrm>
            <a:off x="5472652" y="100135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D18B22E1-9122-47B6-BC5C-F9B4B29E17CE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8941B825-5F39-4538-9C9D-DDD417736510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93801255-B20E-45AF-AE06-7D65B34EDCB6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9F132FA3-CF4B-4F66-98C7-7B3200DAECD3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49" name="Přímá spojnice 48">
            <a:extLst>
              <a:ext uri="{FF2B5EF4-FFF2-40B4-BE49-F238E27FC236}">
                <a16:creationId xmlns:a16="http://schemas.microsoft.com/office/drawing/2014/main" id="{D871E284-E48F-4734-9B63-665834F667BC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Přímá spojnice 49">
            <a:extLst>
              <a:ext uri="{FF2B5EF4-FFF2-40B4-BE49-F238E27FC236}">
                <a16:creationId xmlns:a16="http://schemas.microsoft.com/office/drawing/2014/main" id="{BBCA01D1-1AF4-4B74-8641-FD514992C3B6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6F40F692-AAFF-42DF-8B73-E1FE94C836B4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1BD8CAE7-9E70-4106-998C-E82CB0E09A68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53" name="Přímá spojnice 52">
            <a:extLst>
              <a:ext uri="{FF2B5EF4-FFF2-40B4-BE49-F238E27FC236}">
                <a16:creationId xmlns:a16="http://schemas.microsoft.com/office/drawing/2014/main" id="{00440A4D-C754-4D5C-AF27-063C6CE4C3F6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18116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Stav a vývoj epidemie COVID-19 </a:t>
            </a:r>
            <a:br>
              <a:rPr lang="cs-CZ" b="1" dirty="0"/>
            </a:br>
            <a:r>
              <a:rPr lang="cs-CZ" b="1" dirty="0"/>
              <a:t>v dostupných datech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04925" y="3693109"/>
            <a:ext cx="9867900" cy="2250491"/>
          </a:xfrm>
        </p:spPr>
        <p:txBody>
          <a:bodyPr>
            <a:normAutofit/>
          </a:bodyPr>
          <a:lstStyle/>
          <a:p>
            <a:r>
              <a:rPr lang="cs-CZ" sz="4800" b="1" dirty="0"/>
              <a:t>Krátkodobé projekce vývoje</a:t>
            </a:r>
            <a:endParaRPr lang="en-US" sz="4800" b="1" dirty="0"/>
          </a:p>
          <a:p>
            <a:r>
              <a:rPr lang="en-US" sz="3200" b="1" i="1" dirty="0">
                <a:solidFill>
                  <a:srgbClr val="C00000"/>
                </a:solidFill>
              </a:rPr>
              <a:t>- </a:t>
            </a:r>
            <a:r>
              <a:rPr lang="cs-CZ" sz="3200" b="1" i="1" dirty="0">
                <a:solidFill>
                  <a:srgbClr val="C00000"/>
                </a:solidFill>
              </a:rPr>
              <a:t>aktualizace k 27. 10. 2021 -</a:t>
            </a:r>
            <a:endParaRPr lang="cs-CZ" sz="3200" b="1" dirty="0"/>
          </a:p>
        </p:txBody>
      </p:sp>
    </p:spTree>
    <p:extLst>
      <p:ext uri="{BB962C8B-B14F-4D97-AF65-F5344CB8AC3E}">
        <p14:creationId xmlns:p14="http://schemas.microsoft.com/office/powerpoint/2010/main" val="5172114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</a:t>
            </a:r>
            <a:r>
              <a:rPr lang="cs-CZ" dirty="0"/>
              <a:t>Liberecký</a:t>
            </a:r>
            <a:r>
              <a:rPr lang="cs-CZ" dirty="0">
                <a:latin typeface="+mj-lt"/>
              </a:rPr>
              <a:t>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F95AB3A1-66AD-4F90-923E-58DA24A2ACA2}"/>
              </a:ext>
            </a:extLst>
          </p:cNvPr>
          <p:cNvGrpSpPr/>
          <p:nvPr/>
        </p:nvGrpSpPr>
        <p:grpSpPr>
          <a:xfrm>
            <a:off x="11213431" y="654465"/>
            <a:ext cx="885789" cy="249232"/>
            <a:chOff x="12375318" y="2890002"/>
            <a:chExt cx="1689602" cy="475399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E3D1087B-18D3-433E-AF83-05324266E08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2926201"/>
              <a:ext cx="364634" cy="439200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F8F3D312-CF77-42CC-B5A2-88110AB3AB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6842" t="32400" r="5593" b="32385"/>
            <a:stretch/>
          </p:blipFill>
          <p:spPr>
            <a:xfrm>
              <a:off x="12882808" y="2890002"/>
              <a:ext cx="1182112" cy="475399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350C6DE2-4202-47BE-AF2A-6983107485D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00133975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5" name="TextovéPole 64">
            <a:extLst>
              <a:ext uri="{FF2B5EF4-FFF2-40B4-BE49-F238E27FC236}">
                <a16:creationId xmlns:a16="http://schemas.microsoft.com/office/drawing/2014/main" id="{3236EC13-8E2C-4195-AC13-76C7680E9E37}"/>
              </a:ext>
            </a:extLst>
          </p:cNvPr>
          <p:cNvSpPr txBox="1"/>
          <p:nvPr/>
        </p:nvSpPr>
        <p:spPr>
          <a:xfrm>
            <a:off x="10244966" y="2409742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. 10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125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74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49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31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A65D95F8-76E9-4930-A832-F2A89889B16F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cxnSp>
        <p:nvCxnSpPr>
          <p:cNvPr id="45" name="Přímá spojnice se šipkou 44">
            <a:extLst>
              <a:ext uri="{FF2B5EF4-FFF2-40B4-BE49-F238E27FC236}">
                <a16:creationId xmlns:a16="http://schemas.microsoft.com/office/drawing/2014/main" id="{60B55CD8-B7EF-4E93-954A-194B3DE94B6C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Přímá spojnice se šipkou 45">
            <a:extLst>
              <a:ext uri="{FF2B5EF4-FFF2-40B4-BE49-F238E27FC236}">
                <a16:creationId xmlns:a16="http://schemas.microsoft.com/office/drawing/2014/main" id="{FBFD658A-29BB-451F-A871-85C153313B5F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6">
            <a:extLst>
              <a:ext uri="{FF2B5EF4-FFF2-40B4-BE49-F238E27FC236}">
                <a16:creationId xmlns:a16="http://schemas.microsoft.com/office/drawing/2014/main" id="{B6E7CB9B-ACE6-4826-A623-EBCCD08E8A59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ovéPole 47">
            <a:extLst>
              <a:ext uri="{FF2B5EF4-FFF2-40B4-BE49-F238E27FC236}">
                <a16:creationId xmlns:a16="http://schemas.microsoft.com/office/drawing/2014/main" id="{BBD6F85C-0FD5-4AB1-A25C-21D4CF95FA3D}"/>
              </a:ext>
            </a:extLst>
          </p:cNvPr>
          <p:cNvSpPr txBox="1"/>
          <p:nvPr/>
        </p:nvSpPr>
        <p:spPr>
          <a:xfrm>
            <a:off x="8249941" y="2790122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Obdélník 48">
            <a:extLst>
              <a:ext uri="{FF2B5EF4-FFF2-40B4-BE49-F238E27FC236}">
                <a16:creationId xmlns:a16="http://schemas.microsoft.com/office/drawing/2014/main" id="{2FEA0BB8-C3AD-40A8-BBB6-8E5902BE6C28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23. 9. až 30. 9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50" name="TextovéPole 49">
            <a:extLst>
              <a:ext uri="{FF2B5EF4-FFF2-40B4-BE49-F238E27FC236}">
                <a16:creationId xmlns:a16="http://schemas.microsoft.com/office/drawing/2014/main" id="{ECF72E2B-9FC8-46A1-B913-750DEA03AC04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60</a:t>
            </a:r>
          </a:p>
        </p:txBody>
      </p: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17D24118-3AA3-4672-AE77-D15C37FC3729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omalého růstu, R = 1,20</a:t>
            </a:r>
          </a:p>
        </p:txBody>
      </p:sp>
      <p:sp>
        <p:nvSpPr>
          <p:cNvPr id="55" name="Obdélník 54">
            <a:extLst>
              <a:ext uri="{FF2B5EF4-FFF2-40B4-BE49-F238E27FC236}">
                <a16:creationId xmlns:a16="http://schemas.microsoft.com/office/drawing/2014/main" id="{0B4D959E-CF85-4ADE-BD3D-6FA808D1B6C1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TextovéPole 55">
            <a:extLst>
              <a:ext uri="{FF2B5EF4-FFF2-40B4-BE49-F238E27FC236}">
                <a16:creationId xmlns:a16="http://schemas.microsoft.com/office/drawing/2014/main" id="{F707907A-F260-49C1-BD81-2F975A307692}"/>
              </a:ext>
            </a:extLst>
          </p:cNvPr>
          <p:cNvSpPr txBox="1"/>
          <p:nvPr/>
        </p:nvSpPr>
        <p:spPr>
          <a:xfrm>
            <a:off x="4467521" y="278925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60</a:t>
            </a:r>
          </a:p>
        </p:txBody>
      </p:sp>
      <p:cxnSp>
        <p:nvCxnSpPr>
          <p:cNvPr id="58" name="Přímá spojnice 57">
            <a:extLst>
              <a:ext uri="{FF2B5EF4-FFF2-40B4-BE49-F238E27FC236}">
                <a16:creationId xmlns:a16="http://schemas.microsoft.com/office/drawing/2014/main" id="{2F001903-CAC9-4428-8818-0B4A5FD88E18}"/>
              </a:ext>
            </a:extLst>
          </p:cNvPr>
          <p:cNvCxnSpPr>
            <a:cxnSpLocks/>
          </p:cNvCxnSpPr>
          <p:nvPr/>
        </p:nvCxnSpPr>
        <p:spPr>
          <a:xfrm>
            <a:off x="4173268" y="29442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9B9497E6-662F-4EC1-891B-BC79DB01B395}"/>
              </a:ext>
            </a:extLst>
          </p:cNvPr>
          <p:cNvSpPr txBox="1"/>
          <p:nvPr/>
        </p:nvSpPr>
        <p:spPr>
          <a:xfrm>
            <a:off x="4467521" y="29967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60" name="Přímá spojnice 59">
            <a:extLst>
              <a:ext uri="{FF2B5EF4-FFF2-40B4-BE49-F238E27FC236}">
                <a16:creationId xmlns:a16="http://schemas.microsoft.com/office/drawing/2014/main" id="{90F8B26D-3052-41B0-ADF4-D86CA00BD44E}"/>
              </a:ext>
            </a:extLst>
          </p:cNvPr>
          <p:cNvCxnSpPr>
            <a:cxnSpLocks/>
          </p:cNvCxnSpPr>
          <p:nvPr/>
        </p:nvCxnSpPr>
        <p:spPr>
          <a:xfrm>
            <a:off x="4173268" y="3167595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84465883-F63C-42C7-A5C1-D75920E452BB}"/>
              </a:ext>
            </a:extLst>
          </p:cNvPr>
          <p:cNvCxnSpPr>
            <a:cxnSpLocks/>
          </p:cNvCxnSpPr>
          <p:nvPr/>
        </p:nvCxnSpPr>
        <p:spPr>
          <a:xfrm>
            <a:off x="4173268" y="3572343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62" name="TextovéPole 61">
            <a:extLst>
              <a:ext uri="{FF2B5EF4-FFF2-40B4-BE49-F238E27FC236}">
                <a16:creationId xmlns:a16="http://schemas.microsoft.com/office/drawing/2014/main" id="{49658024-9869-4FED-ACB3-72A41CC16224}"/>
              </a:ext>
            </a:extLst>
          </p:cNvPr>
          <p:cNvSpPr txBox="1"/>
          <p:nvPr/>
        </p:nvSpPr>
        <p:spPr>
          <a:xfrm>
            <a:off x="4467521" y="3423047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10. 2021)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5CA2E166-9C10-499B-8F9E-FD18D119F619}"/>
              </a:ext>
            </a:extLst>
          </p:cNvPr>
          <p:cNvSpPr txBox="1"/>
          <p:nvPr/>
        </p:nvSpPr>
        <p:spPr>
          <a:xfrm>
            <a:off x="4468013" y="3216570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64" name="Přímá spojnice 63">
            <a:extLst>
              <a:ext uri="{FF2B5EF4-FFF2-40B4-BE49-F238E27FC236}">
                <a16:creationId xmlns:a16="http://schemas.microsoft.com/office/drawing/2014/main" id="{76E0BC37-3A0C-49C3-9819-5F3EEF5171B3}"/>
              </a:ext>
            </a:extLst>
          </p:cNvPr>
          <p:cNvCxnSpPr>
            <a:cxnSpLocks/>
          </p:cNvCxnSpPr>
          <p:nvPr/>
        </p:nvCxnSpPr>
        <p:spPr>
          <a:xfrm>
            <a:off x="4173268" y="3367779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0128832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</a:t>
            </a:r>
            <a:br>
              <a:rPr lang="cs-CZ" sz="1800" dirty="0">
                <a:latin typeface="+mj-lt"/>
              </a:rPr>
            </a:br>
            <a:r>
              <a:rPr lang="cs-CZ" sz="1800" dirty="0"/>
              <a:t>Liberec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904EFF0C-23FB-42AD-AEDA-D4E2F71D7EAF}"/>
              </a:ext>
            </a:extLst>
          </p:cNvPr>
          <p:cNvGrpSpPr/>
          <p:nvPr/>
        </p:nvGrpSpPr>
        <p:grpSpPr>
          <a:xfrm>
            <a:off x="11213431" y="654465"/>
            <a:ext cx="885789" cy="249232"/>
            <a:chOff x="12375318" y="2890002"/>
            <a:chExt cx="1689602" cy="475399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72BD359C-46FF-4AE5-B2AC-A55CC70B6C9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2926201"/>
              <a:ext cx="364634" cy="439200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E0A22C9F-3AA6-457E-A4B4-E3CA746D88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6842" t="32400" r="5593" b="32385"/>
            <a:stretch/>
          </p:blipFill>
          <p:spPr>
            <a:xfrm>
              <a:off x="12882808" y="2890002"/>
              <a:ext cx="1182112" cy="475399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F0F55FC0-C606-4D15-BF4E-C2FBB0F7F0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84655948"/>
              </p:ext>
            </p:extLst>
          </p:nvPr>
        </p:nvGraphicFramePr>
        <p:xfrm>
          <a:off x="556549" y="1107448"/>
          <a:ext cx="11354940" cy="58564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4" name="TextovéPole 53">
            <a:extLst>
              <a:ext uri="{FF2B5EF4-FFF2-40B4-BE49-F238E27FC236}">
                <a16:creationId xmlns:a16="http://schemas.microsoft.com/office/drawing/2014/main" id="{304CF42D-27E9-4ED2-A4A3-C0F4D7D698A5}"/>
              </a:ext>
            </a:extLst>
          </p:cNvPr>
          <p:cNvSpPr txBox="1"/>
          <p:nvPr/>
        </p:nvSpPr>
        <p:spPr>
          <a:xfrm>
            <a:off x="8682478" y="1290904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. 10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124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79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53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35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56" name="TextBox 6">
            <a:extLst>
              <a:ext uri="{FF2B5EF4-FFF2-40B4-BE49-F238E27FC236}">
                <a16:creationId xmlns:a16="http://schemas.microsoft.com/office/drawing/2014/main" id="{396DEBCA-8F02-43C3-A911-99A2EDCFB3EE}"/>
              </a:ext>
            </a:extLst>
          </p:cNvPr>
          <p:cNvSpPr txBox="1"/>
          <p:nvPr/>
        </p:nvSpPr>
        <p:spPr>
          <a:xfrm rot="16200000">
            <a:off x="-1254283" y="3668526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962E6F82-2AE5-4D15-9A89-346C089EFB9F}"/>
              </a:ext>
            </a:extLst>
          </p:cNvPr>
          <p:cNvSpPr txBox="1"/>
          <p:nvPr/>
        </p:nvSpPr>
        <p:spPr>
          <a:xfrm>
            <a:off x="8195828" y="975843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23AA691C-1082-4835-B251-C20745982F19}"/>
              </a:ext>
            </a:extLst>
          </p:cNvPr>
          <p:cNvSpPr txBox="1"/>
          <p:nvPr/>
        </p:nvSpPr>
        <p:spPr>
          <a:xfrm>
            <a:off x="11632737" y="2836093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8FBA8AA3-8600-47F6-805F-2BEB6834F1EB}"/>
              </a:ext>
            </a:extLst>
          </p:cNvPr>
          <p:cNvSpPr txBox="1"/>
          <p:nvPr/>
        </p:nvSpPr>
        <p:spPr>
          <a:xfrm>
            <a:off x="11632736" y="4321359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BD6E3C7B-810A-4EFD-B252-31378F662F10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23. 9. až 30. 9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DB17D827-8973-493A-8606-D250BCD7A4D7}"/>
              </a:ext>
            </a:extLst>
          </p:cNvPr>
          <p:cNvSpPr txBox="1"/>
          <p:nvPr/>
        </p:nvSpPr>
        <p:spPr>
          <a:xfrm>
            <a:off x="5472652" y="100135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3A8BAF88-3289-4529-983E-F536645ADCD6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D3F41B4C-6A69-40A1-AC66-383E70DA4A3A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B6267664-5FBE-471E-89B4-91BEE4BB8CA3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4278E557-BB79-4304-9D83-34FBB9D1F81E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49" name="Přímá spojnice 48">
            <a:extLst>
              <a:ext uri="{FF2B5EF4-FFF2-40B4-BE49-F238E27FC236}">
                <a16:creationId xmlns:a16="http://schemas.microsoft.com/office/drawing/2014/main" id="{3C794FC5-8CD6-4F12-9801-F157CAD715F9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Přímá spojnice 49">
            <a:extLst>
              <a:ext uri="{FF2B5EF4-FFF2-40B4-BE49-F238E27FC236}">
                <a16:creationId xmlns:a16="http://schemas.microsoft.com/office/drawing/2014/main" id="{BAAC616A-8C7F-448C-8E74-255303617F15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7D7C0B47-DC27-4D04-8F0E-32ADA4724298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2D9413C4-D712-4B22-8A82-028293645850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53" name="Přímá spojnice 52">
            <a:extLst>
              <a:ext uri="{FF2B5EF4-FFF2-40B4-BE49-F238E27FC236}">
                <a16:creationId xmlns:a16="http://schemas.microsoft.com/office/drawing/2014/main" id="{09FC04F1-3031-4213-AA63-0D032B89F56B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86874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</a:t>
            </a:r>
            <a:r>
              <a:rPr lang="cs-CZ" dirty="0"/>
              <a:t>Královehradecký</a:t>
            </a:r>
            <a:r>
              <a:rPr lang="cs-CZ" dirty="0">
                <a:latin typeface="+mj-lt"/>
              </a:rPr>
              <a:t>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2BFD197E-F2C5-4B7D-B7BD-52FB0F4EF96B}"/>
              </a:ext>
            </a:extLst>
          </p:cNvPr>
          <p:cNvGrpSpPr/>
          <p:nvPr/>
        </p:nvGrpSpPr>
        <p:grpSpPr>
          <a:xfrm>
            <a:off x="11136428" y="657628"/>
            <a:ext cx="969271" cy="298637"/>
            <a:chOff x="12375318" y="0"/>
            <a:chExt cx="1580446" cy="486943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7E01F0A6-C4DC-4FF9-9B0D-9C156F25A0E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75318" y="17690"/>
              <a:ext cx="367200" cy="411266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330152D4-3604-4139-9F59-BD82B1CBCD0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0"/>
              <a:ext cx="1100002" cy="486943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DBDD8FB6-42C3-4F57-BC47-02A0CD2860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3483565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5" name="TextovéPole 64">
            <a:extLst>
              <a:ext uri="{FF2B5EF4-FFF2-40B4-BE49-F238E27FC236}">
                <a16:creationId xmlns:a16="http://schemas.microsoft.com/office/drawing/2014/main" id="{D80AE1F2-DF92-4EE8-B101-9867226E58F3}"/>
              </a:ext>
            </a:extLst>
          </p:cNvPr>
          <p:cNvSpPr txBox="1"/>
          <p:nvPr/>
        </p:nvSpPr>
        <p:spPr>
          <a:xfrm>
            <a:off x="10261720" y="2571841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. 10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156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93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61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38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A81510A-8A9F-4A5E-BA9F-118347704330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cxnSp>
        <p:nvCxnSpPr>
          <p:cNvPr id="45" name="Přímá spojnice se šipkou 44">
            <a:extLst>
              <a:ext uri="{FF2B5EF4-FFF2-40B4-BE49-F238E27FC236}">
                <a16:creationId xmlns:a16="http://schemas.microsoft.com/office/drawing/2014/main" id="{BA0CA6F4-6EA7-416D-B905-A7E80B0598D7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Přímá spojnice se šipkou 45">
            <a:extLst>
              <a:ext uri="{FF2B5EF4-FFF2-40B4-BE49-F238E27FC236}">
                <a16:creationId xmlns:a16="http://schemas.microsoft.com/office/drawing/2014/main" id="{D1872954-9636-4F90-A73F-065BCEEE6C94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6">
            <a:extLst>
              <a:ext uri="{FF2B5EF4-FFF2-40B4-BE49-F238E27FC236}">
                <a16:creationId xmlns:a16="http://schemas.microsoft.com/office/drawing/2014/main" id="{774855CC-7410-4454-A0E5-26E0FBB52840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ovéPole 47">
            <a:extLst>
              <a:ext uri="{FF2B5EF4-FFF2-40B4-BE49-F238E27FC236}">
                <a16:creationId xmlns:a16="http://schemas.microsoft.com/office/drawing/2014/main" id="{9098A5BA-F8D6-4BA8-8ABD-5A0FC3AD1482}"/>
              </a:ext>
            </a:extLst>
          </p:cNvPr>
          <p:cNvSpPr txBox="1"/>
          <p:nvPr/>
        </p:nvSpPr>
        <p:spPr>
          <a:xfrm>
            <a:off x="8249941" y="2790122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Obdélník 48">
            <a:extLst>
              <a:ext uri="{FF2B5EF4-FFF2-40B4-BE49-F238E27FC236}">
                <a16:creationId xmlns:a16="http://schemas.microsoft.com/office/drawing/2014/main" id="{2DEADB98-9D66-4A3E-A172-E24F83ACA5EC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23. 9. až 30. 9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50" name="TextovéPole 49">
            <a:extLst>
              <a:ext uri="{FF2B5EF4-FFF2-40B4-BE49-F238E27FC236}">
                <a16:creationId xmlns:a16="http://schemas.microsoft.com/office/drawing/2014/main" id="{84067408-1BC3-4369-9564-100E5582213B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60</a:t>
            </a:r>
          </a:p>
        </p:txBody>
      </p: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B7C9BB27-C9DD-4123-B302-E48F3FB85387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omalého růstu, R = 1,20</a:t>
            </a:r>
          </a:p>
        </p:txBody>
      </p:sp>
      <p:sp>
        <p:nvSpPr>
          <p:cNvPr id="55" name="Obdélník 54">
            <a:extLst>
              <a:ext uri="{FF2B5EF4-FFF2-40B4-BE49-F238E27FC236}">
                <a16:creationId xmlns:a16="http://schemas.microsoft.com/office/drawing/2014/main" id="{6EEEEA24-00B6-4E1C-BEF2-40DDC69CFD15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TextovéPole 55">
            <a:extLst>
              <a:ext uri="{FF2B5EF4-FFF2-40B4-BE49-F238E27FC236}">
                <a16:creationId xmlns:a16="http://schemas.microsoft.com/office/drawing/2014/main" id="{09A9C356-ABBC-4485-A382-D311D020DF59}"/>
              </a:ext>
            </a:extLst>
          </p:cNvPr>
          <p:cNvSpPr txBox="1"/>
          <p:nvPr/>
        </p:nvSpPr>
        <p:spPr>
          <a:xfrm>
            <a:off x="4467521" y="278925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60</a:t>
            </a:r>
          </a:p>
        </p:txBody>
      </p:sp>
      <p:cxnSp>
        <p:nvCxnSpPr>
          <p:cNvPr id="58" name="Přímá spojnice 57">
            <a:extLst>
              <a:ext uri="{FF2B5EF4-FFF2-40B4-BE49-F238E27FC236}">
                <a16:creationId xmlns:a16="http://schemas.microsoft.com/office/drawing/2014/main" id="{462E4F76-4F69-4906-A236-C20A9D5B4FB7}"/>
              </a:ext>
            </a:extLst>
          </p:cNvPr>
          <p:cNvCxnSpPr>
            <a:cxnSpLocks/>
          </p:cNvCxnSpPr>
          <p:nvPr/>
        </p:nvCxnSpPr>
        <p:spPr>
          <a:xfrm>
            <a:off x="4173268" y="29442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5404BDEA-EBEF-4890-8DC7-BAF979B16AA2}"/>
              </a:ext>
            </a:extLst>
          </p:cNvPr>
          <p:cNvSpPr txBox="1"/>
          <p:nvPr/>
        </p:nvSpPr>
        <p:spPr>
          <a:xfrm>
            <a:off x="4467521" y="29967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60" name="Přímá spojnice 59">
            <a:extLst>
              <a:ext uri="{FF2B5EF4-FFF2-40B4-BE49-F238E27FC236}">
                <a16:creationId xmlns:a16="http://schemas.microsoft.com/office/drawing/2014/main" id="{67A2235A-8B96-4E92-BAFD-035ACAFE3577}"/>
              </a:ext>
            </a:extLst>
          </p:cNvPr>
          <p:cNvCxnSpPr>
            <a:cxnSpLocks/>
          </p:cNvCxnSpPr>
          <p:nvPr/>
        </p:nvCxnSpPr>
        <p:spPr>
          <a:xfrm>
            <a:off x="4173268" y="3167595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764155E5-CFEA-4150-BCF0-673F21928B4F}"/>
              </a:ext>
            </a:extLst>
          </p:cNvPr>
          <p:cNvCxnSpPr>
            <a:cxnSpLocks/>
          </p:cNvCxnSpPr>
          <p:nvPr/>
        </p:nvCxnSpPr>
        <p:spPr>
          <a:xfrm>
            <a:off x="4173268" y="3572343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62" name="TextovéPole 61">
            <a:extLst>
              <a:ext uri="{FF2B5EF4-FFF2-40B4-BE49-F238E27FC236}">
                <a16:creationId xmlns:a16="http://schemas.microsoft.com/office/drawing/2014/main" id="{673335B3-2944-4BED-87BF-803BAFFE409C}"/>
              </a:ext>
            </a:extLst>
          </p:cNvPr>
          <p:cNvSpPr txBox="1"/>
          <p:nvPr/>
        </p:nvSpPr>
        <p:spPr>
          <a:xfrm>
            <a:off x="4467521" y="3423047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10. 2021)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0EAB2EEF-B3D9-4CA3-8CCE-A151FFEE154D}"/>
              </a:ext>
            </a:extLst>
          </p:cNvPr>
          <p:cNvSpPr txBox="1"/>
          <p:nvPr/>
        </p:nvSpPr>
        <p:spPr>
          <a:xfrm>
            <a:off x="4468013" y="3216570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64" name="Přímá spojnice 63">
            <a:extLst>
              <a:ext uri="{FF2B5EF4-FFF2-40B4-BE49-F238E27FC236}">
                <a16:creationId xmlns:a16="http://schemas.microsoft.com/office/drawing/2014/main" id="{78F9A979-D42F-4FD0-AE7A-7541720E66F2}"/>
              </a:ext>
            </a:extLst>
          </p:cNvPr>
          <p:cNvCxnSpPr>
            <a:cxnSpLocks/>
          </p:cNvCxnSpPr>
          <p:nvPr/>
        </p:nvCxnSpPr>
        <p:spPr>
          <a:xfrm>
            <a:off x="4173268" y="3367779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6590937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</a:t>
            </a:r>
            <a:br>
              <a:rPr lang="cs-CZ" sz="1800" dirty="0">
                <a:latin typeface="+mj-lt"/>
              </a:rPr>
            </a:br>
            <a:r>
              <a:rPr lang="cs-CZ" sz="1800" dirty="0"/>
              <a:t>Královehradec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5226E652-89AF-46A8-B871-CBB7F7FF0671}"/>
              </a:ext>
            </a:extLst>
          </p:cNvPr>
          <p:cNvGrpSpPr/>
          <p:nvPr/>
        </p:nvGrpSpPr>
        <p:grpSpPr>
          <a:xfrm>
            <a:off x="11136428" y="657628"/>
            <a:ext cx="969271" cy="298637"/>
            <a:chOff x="12375318" y="0"/>
            <a:chExt cx="1580446" cy="486943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83466CA5-04E0-48E3-992E-6C7EC4F2CBE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75318" y="17690"/>
              <a:ext cx="367200" cy="411266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FD6B49AF-CC89-4B61-8EA0-3044D43B4E5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0"/>
              <a:ext cx="1100002" cy="486943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E11C7E6A-76F6-4635-8C39-3298326136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46447786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4" name="TextovéPole 53">
            <a:extLst>
              <a:ext uri="{FF2B5EF4-FFF2-40B4-BE49-F238E27FC236}">
                <a16:creationId xmlns:a16="http://schemas.microsoft.com/office/drawing/2014/main" id="{E5E9CC34-DB33-4B7F-97DA-A9757634FC9C}"/>
              </a:ext>
            </a:extLst>
          </p:cNvPr>
          <p:cNvSpPr txBox="1"/>
          <p:nvPr/>
        </p:nvSpPr>
        <p:spPr>
          <a:xfrm>
            <a:off x="9428638" y="1197850"/>
            <a:ext cx="1945049" cy="118494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. 10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124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79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54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36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56" name="TextBox 6">
            <a:extLst>
              <a:ext uri="{FF2B5EF4-FFF2-40B4-BE49-F238E27FC236}">
                <a16:creationId xmlns:a16="http://schemas.microsoft.com/office/drawing/2014/main" id="{EF14F428-5305-4FF8-85C7-79367A4B150C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CB00EBF3-BF65-4753-9E19-8D2C274C7E20}"/>
              </a:ext>
            </a:extLst>
          </p:cNvPr>
          <p:cNvSpPr txBox="1"/>
          <p:nvPr/>
        </p:nvSpPr>
        <p:spPr>
          <a:xfrm>
            <a:off x="8941988" y="882789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052A5299-3729-43ED-826C-08F52712B773}"/>
              </a:ext>
            </a:extLst>
          </p:cNvPr>
          <p:cNvSpPr txBox="1"/>
          <p:nvPr/>
        </p:nvSpPr>
        <p:spPr>
          <a:xfrm>
            <a:off x="11610262" y="2626416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096E2C6D-D5FF-40AE-853F-7EDB5942F0EC}"/>
              </a:ext>
            </a:extLst>
          </p:cNvPr>
          <p:cNvSpPr txBox="1"/>
          <p:nvPr/>
        </p:nvSpPr>
        <p:spPr>
          <a:xfrm>
            <a:off x="11582580" y="4159033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CA3F5BF2-37F0-4A49-BA51-11FB893EDDB7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23. 9. až 30. 9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AD265DA7-7050-4BBC-978E-F0680AB7C1A3}"/>
              </a:ext>
            </a:extLst>
          </p:cNvPr>
          <p:cNvSpPr txBox="1"/>
          <p:nvPr/>
        </p:nvSpPr>
        <p:spPr>
          <a:xfrm>
            <a:off x="5472652" y="100135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3F6EDEA7-E99C-48D4-AA1B-DAFACE5240F1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68C6D798-9C41-4C54-9CD0-47A3C0D03C81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7AB8B674-4A2C-4078-979E-A8A672160F02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9D0F350C-88EC-4A89-AB8D-5CD0D065C441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49" name="Přímá spojnice 48">
            <a:extLst>
              <a:ext uri="{FF2B5EF4-FFF2-40B4-BE49-F238E27FC236}">
                <a16:creationId xmlns:a16="http://schemas.microsoft.com/office/drawing/2014/main" id="{DB90DA31-C7AF-4917-A186-6A4A72A6AEB8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Přímá spojnice 49">
            <a:extLst>
              <a:ext uri="{FF2B5EF4-FFF2-40B4-BE49-F238E27FC236}">
                <a16:creationId xmlns:a16="http://schemas.microsoft.com/office/drawing/2014/main" id="{7F151813-4787-4277-ABC2-9E2E501128A3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3C4556C8-B175-479B-9A89-9752DB1D6951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AC50B8FE-72C0-436D-8E9C-855D160CBA73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53" name="Přímá spojnice 52">
            <a:extLst>
              <a:ext uri="{FF2B5EF4-FFF2-40B4-BE49-F238E27FC236}">
                <a16:creationId xmlns:a16="http://schemas.microsoft.com/office/drawing/2014/main" id="{EA4F2163-72DC-44AB-87B5-98DBDC5E0031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86361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</a:t>
            </a:r>
            <a:r>
              <a:rPr lang="cs-CZ" dirty="0"/>
              <a:t>Pardubický</a:t>
            </a:r>
            <a:r>
              <a:rPr lang="cs-CZ" dirty="0">
                <a:latin typeface="+mj-lt"/>
              </a:rPr>
              <a:t>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DD933C75-0B2E-45EA-B755-81A1E6641817}"/>
              </a:ext>
            </a:extLst>
          </p:cNvPr>
          <p:cNvGrpSpPr/>
          <p:nvPr/>
        </p:nvGrpSpPr>
        <p:grpSpPr>
          <a:xfrm>
            <a:off x="11058210" y="649226"/>
            <a:ext cx="1025315" cy="265174"/>
            <a:chOff x="12375318" y="5014932"/>
            <a:chExt cx="2087955" cy="540000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0EF69E19-EE3C-4047-A2AC-1A0D5D72B59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5047046"/>
              <a:ext cx="373253" cy="468000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36185778-910C-4229-A69C-9D28E2309F6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55762" y="5014932"/>
              <a:ext cx="1607511" cy="540000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217BEEF9-B63A-45BA-B16A-80913AB1574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53247731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5" name="TextovéPole 64">
            <a:extLst>
              <a:ext uri="{FF2B5EF4-FFF2-40B4-BE49-F238E27FC236}">
                <a16:creationId xmlns:a16="http://schemas.microsoft.com/office/drawing/2014/main" id="{5C921EC6-1A6F-4195-BBF6-A7C78F50419C}"/>
              </a:ext>
            </a:extLst>
          </p:cNvPr>
          <p:cNvSpPr txBox="1"/>
          <p:nvPr/>
        </p:nvSpPr>
        <p:spPr>
          <a:xfrm>
            <a:off x="10261720" y="2412042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. 10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271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61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05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67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62" name="TextovéPole 61">
            <a:extLst>
              <a:ext uri="{FF2B5EF4-FFF2-40B4-BE49-F238E27FC236}">
                <a16:creationId xmlns:a16="http://schemas.microsoft.com/office/drawing/2014/main" id="{1869EEF6-371B-4D69-B90F-1BDC30E4D581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cxnSp>
        <p:nvCxnSpPr>
          <p:cNvPr id="63" name="Přímá spojnice se šipkou 62">
            <a:extLst>
              <a:ext uri="{FF2B5EF4-FFF2-40B4-BE49-F238E27FC236}">
                <a16:creationId xmlns:a16="http://schemas.microsoft.com/office/drawing/2014/main" id="{12AA8D94-D96B-4B06-BD10-76E7133991D9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Přímá spojnice se šipkou 63">
            <a:extLst>
              <a:ext uri="{FF2B5EF4-FFF2-40B4-BE49-F238E27FC236}">
                <a16:creationId xmlns:a16="http://schemas.microsoft.com/office/drawing/2014/main" id="{4E4111F4-DE24-4A20-A14E-EF97FB88D288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">
            <a:extLst>
              <a:ext uri="{FF2B5EF4-FFF2-40B4-BE49-F238E27FC236}">
                <a16:creationId xmlns:a16="http://schemas.microsoft.com/office/drawing/2014/main" id="{851AE6CC-B43D-49F0-AC28-3E677C205F25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TextovéPole 69">
            <a:extLst>
              <a:ext uri="{FF2B5EF4-FFF2-40B4-BE49-F238E27FC236}">
                <a16:creationId xmlns:a16="http://schemas.microsoft.com/office/drawing/2014/main" id="{2DB9CDDC-6A7C-4D4B-8550-9D73BE9F5D97}"/>
              </a:ext>
            </a:extLst>
          </p:cNvPr>
          <p:cNvSpPr txBox="1"/>
          <p:nvPr/>
        </p:nvSpPr>
        <p:spPr>
          <a:xfrm>
            <a:off x="8249941" y="2790122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1" name="Obdélník 70">
            <a:extLst>
              <a:ext uri="{FF2B5EF4-FFF2-40B4-BE49-F238E27FC236}">
                <a16:creationId xmlns:a16="http://schemas.microsoft.com/office/drawing/2014/main" id="{7C32DB2C-07DD-4BDB-98F8-4CD5DABEAA50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23. 9. až 30. 9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72" name="TextovéPole 71">
            <a:extLst>
              <a:ext uri="{FF2B5EF4-FFF2-40B4-BE49-F238E27FC236}">
                <a16:creationId xmlns:a16="http://schemas.microsoft.com/office/drawing/2014/main" id="{B1815E93-02B1-492A-82DA-986D2D0A7BF6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60</a:t>
            </a:r>
          </a:p>
        </p:txBody>
      </p:sp>
      <p:sp>
        <p:nvSpPr>
          <p:cNvPr id="73" name="TextovéPole 72">
            <a:extLst>
              <a:ext uri="{FF2B5EF4-FFF2-40B4-BE49-F238E27FC236}">
                <a16:creationId xmlns:a16="http://schemas.microsoft.com/office/drawing/2014/main" id="{19429C87-77EE-4C8F-93C4-BADD00A3D7A4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omalého růstu, R = 1,20</a:t>
            </a:r>
          </a:p>
        </p:txBody>
      </p:sp>
      <p:sp>
        <p:nvSpPr>
          <p:cNvPr id="74" name="Obdélník 73">
            <a:extLst>
              <a:ext uri="{FF2B5EF4-FFF2-40B4-BE49-F238E27FC236}">
                <a16:creationId xmlns:a16="http://schemas.microsoft.com/office/drawing/2014/main" id="{4BD498D2-2396-42F9-BFB6-368EEF7F0075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" name="TextovéPole 74">
            <a:extLst>
              <a:ext uri="{FF2B5EF4-FFF2-40B4-BE49-F238E27FC236}">
                <a16:creationId xmlns:a16="http://schemas.microsoft.com/office/drawing/2014/main" id="{290DAAFF-A2FF-4EDA-A386-4E9E3A8E1F9A}"/>
              </a:ext>
            </a:extLst>
          </p:cNvPr>
          <p:cNvSpPr txBox="1"/>
          <p:nvPr/>
        </p:nvSpPr>
        <p:spPr>
          <a:xfrm>
            <a:off x="4467521" y="278925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60</a:t>
            </a:r>
          </a:p>
        </p:txBody>
      </p:sp>
      <p:cxnSp>
        <p:nvCxnSpPr>
          <p:cNvPr id="76" name="Přímá spojnice 75">
            <a:extLst>
              <a:ext uri="{FF2B5EF4-FFF2-40B4-BE49-F238E27FC236}">
                <a16:creationId xmlns:a16="http://schemas.microsoft.com/office/drawing/2014/main" id="{F0D0FB6A-6EAE-45E6-BAD5-51FA82B07B24}"/>
              </a:ext>
            </a:extLst>
          </p:cNvPr>
          <p:cNvCxnSpPr>
            <a:cxnSpLocks/>
          </p:cNvCxnSpPr>
          <p:nvPr/>
        </p:nvCxnSpPr>
        <p:spPr>
          <a:xfrm>
            <a:off x="4173268" y="29442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77" name="TextovéPole 76">
            <a:extLst>
              <a:ext uri="{FF2B5EF4-FFF2-40B4-BE49-F238E27FC236}">
                <a16:creationId xmlns:a16="http://schemas.microsoft.com/office/drawing/2014/main" id="{FB97DE9E-73AE-460B-AE35-02EDDF120BE8}"/>
              </a:ext>
            </a:extLst>
          </p:cNvPr>
          <p:cNvSpPr txBox="1"/>
          <p:nvPr/>
        </p:nvSpPr>
        <p:spPr>
          <a:xfrm>
            <a:off x="4467521" y="29967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78" name="Přímá spojnice 77">
            <a:extLst>
              <a:ext uri="{FF2B5EF4-FFF2-40B4-BE49-F238E27FC236}">
                <a16:creationId xmlns:a16="http://schemas.microsoft.com/office/drawing/2014/main" id="{A1E97491-7D62-42BA-AEC3-D1BA8FC39A8B}"/>
              </a:ext>
            </a:extLst>
          </p:cNvPr>
          <p:cNvCxnSpPr>
            <a:cxnSpLocks/>
          </p:cNvCxnSpPr>
          <p:nvPr/>
        </p:nvCxnSpPr>
        <p:spPr>
          <a:xfrm>
            <a:off x="4173268" y="3167595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79" name="Přímá spojnice 78">
            <a:extLst>
              <a:ext uri="{FF2B5EF4-FFF2-40B4-BE49-F238E27FC236}">
                <a16:creationId xmlns:a16="http://schemas.microsoft.com/office/drawing/2014/main" id="{10F1A9E5-3BF4-47DB-BE2D-C4DB4B64C124}"/>
              </a:ext>
            </a:extLst>
          </p:cNvPr>
          <p:cNvCxnSpPr>
            <a:cxnSpLocks/>
          </p:cNvCxnSpPr>
          <p:nvPr/>
        </p:nvCxnSpPr>
        <p:spPr>
          <a:xfrm>
            <a:off x="4173268" y="3572343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80" name="TextovéPole 79">
            <a:extLst>
              <a:ext uri="{FF2B5EF4-FFF2-40B4-BE49-F238E27FC236}">
                <a16:creationId xmlns:a16="http://schemas.microsoft.com/office/drawing/2014/main" id="{4948C7D5-8854-49AC-8008-DC8B0AD9E6C1}"/>
              </a:ext>
            </a:extLst>
          </p:cNvPr>
          <p:cNvSpPr txBox="1"/>
          <p:nvPr/>
        </p:nvSpPr>
        <p:spPr>
          <a:xfrm>
            <a:off x="4467521" y="3423047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10. 2021)</a:t>
            </a:r>
          </a:p>
        </p:txBody>
      </p:sp>
      <p:sp>
        <p:nvSpPr>
          <p:cNvPr id="81" name="TextovéPole 80">
            <a:extLst>
              <a:ext uri="{FF2B5EF4-FFF2-40B4-BE49-F238E27FC236}">
                <a16:creationId xmlns:a16="http://schemas.microsoft.com/office/drawing/2014/main" id="{6165F393-B2BA-42BB-B537-CD2656BEF8DB}"/>
              </a:ext>
            </a:extLst>
          </p:cNvPr>
          <p:cNvSpPr txBox="1"/>
          <p:nvPr/>
        </p:nvSpPr>
        <p:spPr>
          <a:xfrm>
            <a:off x="4468013" y="3216570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82" name="Přímá spojnice 81">
            <a:extLst>
              <a:ext uri="{FF2B5EF4-FFF2-40B4-BE49-F238E27FC236}">
                <a16:creationId xmlns:a16="http://schemas.microsoft.com/office/drawing/2014/main" id="{D6EFD606-FF34-403F-8F3D-A0350E35F56E}"/>
              </a:ext>
            </a:extLst>
          </p:cNvPr>
          <p:cNvCxnSpPr>
            <a:cxnSpLocks/>
          </p:cNvCxnSpPr>
          <p:nvPr/>
        </p:nvCxnSpPr>
        <p:spPr>
          <a:xfrm>
            <a:off x="4173268" y="3367779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5082906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</a:t>
            </a:r>
            <a:br>
              <a:rPr lang="cs-CZ" sz="1800" dirty="0">
                <a:latin typeface="+mj-lt"/>
              </a:rPr>
            </a:br>
            <a:r>
              <a:rPr lang="cs-CZ" sz="1800" dirty="0"/>
              <a:t>Pardubic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CF377A2F-C0A0-43DA-9280-A19B6E371AAC}"/>
              </a:ext>
            </a:extLst>
          </p:cNvPr>
          <p:cNvGrpSpPr/>
          <p:nvPr/>
        </p:nvGrpSpPr>
        <p:grpSpPr>
          <a:xfrm>
            <a:off x="11058210" y="649226"/>
            <a:ext cx="1025315" cy="265174"/>
            <a:chOff x="12375318" y="5014932"/>
            <a:chExt cx="2087955" cy="540000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96CE1EA5-E85C-4BA1-A52A-9C4BEA2AE2C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5047046"/>
              <a:ext cx="373253" cy="468000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C92DB6C9-71F1-4520-8565-7AC5680D08F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55762" y="5014932"/>
              <a:ext cx="1607511" cy="540000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12738ECA-1575-4A74-98C0-08768BA57C4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8873002"/>
              </p:ext>
            </p:extLst>
          </p:nvPr>
        </p:nvGraphicFramePr>
        <p:xfrm>
          <a:off x="556549" y="1245252"/>
          <a:ext cx="11354940" cy="57186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4" name="TextovéPole 53">
            <a:extLst>
              <a:ext uri="{FF2B5EF4-FFF2-40B4-BE49-F238E27FC236}">
                <a16:creationId xmlns:a16="http://schemas.microsoft.com/office/drawing/2014/main" id="{6EDA2928-5DD9-4570-991F-56697D3CBCB3}"/>
              </a:ext>
            </a:extLst>
          </p:cNvPr>
          <p:cNvSpPr txBox="1"/>
          <p:nvPr/>
        </p:nvSpPr>
        <p:spPr>
          <a:xfrm>
            <a:off x="8943068" y="1111671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. 10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227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45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98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65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56" name="TextBox 6">
            <a:extLst>
              <a:ext uri="{FF2B5EF4-FFF2-40B4-BE49-F238E27FC236}">
                <a16:creationId xmlns:a16="http://schemas.microsoft.com/office/drawing/2014/main" id="{C2C37561-D852-438F-BDBC-ECAC3B295F08}"/>
              </a:ext>
            </a:extLst>
          </p:cNvPr>
          <p:cNvSpPr txBox="1"/>
          <p:nvPr/>
        </p:nvSpPr>
        <p:spPr>
          <a:xfrm rot="16200000">
            <a:off x="-1483263" y="3737978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3FC50939-F508-48F6-8057-659AD7C1F382}"/>
              </a:ext>
            </a:extLst>
          </p:cNvPr>
          <p:cNvSpPr txBox="1"/>
          <p:nvPr/>
        </p:nvSpPr>
        <p:spPr>
          <a:xfrm>
            <a:off x="8456418" y="796610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2FED545D-D2B6-4096-A040-75D6513AE399}"/>
              </a:ext>
            </a:extLst>
          </p:cNvPr>
          <p:cNvSpPr txBox="1"/>
          <p:nvPr/>
        </p:nvSpPr>
        <p:spPr>
          <a:xfrm>
            <a:off x="11639370" y="3700844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10AA5AAA-33EA-44C1-9F56-BBE35D5B4D3C}"/>
              </a:ext>
            </a:extLst>
          </p:cNvPr>
          <p:cNvSpPr txBox="1"/>
          <p:nvPr/>
        </p:nvSpPr>
        <p:spPr>
          <a:xfrm>
            <a:off x="11615081" y="4819427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AA3A277-8DA5-4AA3-B41B-E2AF8A4A584B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23. 9. až 30. 9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D61140FC-8202-4270-B693-2B8CE32B9077}"/>
              </a:ext>
            </a:extLst>
          </p:cNvPr>
          <p:cNvSpPr txBox="1"/>
          <p:nvPr/>
        </p:nvSpPr>
        <p:spPr>
          <a:xfrm>
            <a:off x="5472652" y="100135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F38F1030-72E9-4E78-B347-2BD6465B262C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D867E7D4-5C7B-4F83-8567-33ED25E6CDA7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E06E883E-DFE5-4B6B-9A06-1FFEBD5CA792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68FDB3D0-C511-4BBC-9016-4830C48C0403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49" name="Přímá spojnice 48">
            <a:extLst>
              <a:ext uri="{FF2B5EF4-FFF2-40B4-BE49-F238E27FC236}">
                <a16:creationId xmlns:a16="http://schemas.microsoft.com/office/drawing/2014/main" id="{C529E633-8EDB-45F5-A35C-29EF0F452A8C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Přímá spojnice 49">
            <a:extLst>
              <a:ext uri="{FF2B5EF4-FFF2-40B4-BE49-F238E27FC236}">
                <a16:creationId xmlns:a16="http://schemas.microsoft.com/office/drawing/2014/main" id="{A34F30FA-0309-4CDB-BE86-C6B6DF50E579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C3099AC6-87E1-4BBD-A6E8-0A4ED23E4319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0CCE3EE6-53FC-4AA8-B4EF-96903041339D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53" name="Přímá spojnice 52">
            <a:extLst>
              <a:ext uri="{FF2B5EF4-FFF2-40B4-BE49-F238E27FC236}">
                <a16:creationId xmlns:a16="http://schemas.microsoft.com/office/drawing/2014/main" id="{7BFED617-7F15-42FE-9245-2B818096BE50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122709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</a:t>
            </a:r>
            <a:r>
              <a:rPr lang="cs-CZ" dirty="0"/>
              <a:t>Kraj Vysočina</a:t>
            </a:r>
            <a:endParaRPr lang="cs-CZ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02642BDA-1FDB-47A2-98F0-CA96CB016C73}"/>
              </a:ext>
            </a:extLst>
          </p:cNvPr>
          <p:cNvGrpSpPr/>
          <p:nvPr/>
        </p:nvGrpSpPr>
        <p:grpSpPr>
          <a:xfrm>
            <a:off x="11015595" y="639500"/>
            <a:ext cx="1123991" cy="276446"/>
            <a:chOff x="12342906" y="6252118"/>
            <a:chExt cx="1866242" cy="459003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661A478B-313E-4DF4-805B-E2DD7B1A71A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42906" y="6252118"/>
              <a:ext cx="402855" cy="459003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9EB01192-C0C6-43BD-A9B4-27A4329DA28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6252118"/>
              <a:ext cx="1353386" cy="433584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57E97467-751F-4A4D-B0BC-D83F0C23E08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86687360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5" name="TextovéPole 64">
            <a:extLst>
              <a:ext uri="{FF2B5EF4-FFF2-40B4-BE49-F238E27FC236}">
                <a16:creationId xmlns:a16="http://schemas.microsoft.com/office/drawing/2014/main" id="{A37B7934-1B47-422E-A85E-F5BD452D4D8E}"/>
              </a:ext>
            </a:extLst>
          </p:cNvPr>
          <p:cNvSpPr txBox="1"/>
          <p:nvPr/>
        </p:nvSpPr>
        <p:spPr>
          <a:xfrm>
            <a:off x="10313298" y="2561710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. 10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269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60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04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66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382048EF-2080-4A3B-A1C8-61F471D5A6C1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cxnSp>
        <p:nvCxnSpPr>
          <p:cNvPr id="45" name="Přímá spojnice se šipkou 44">
            <a:extLst>
              <a:ext uri="{FF2B5EF4-FFF2-40B4-BE49-F238E27FC236}">
                <a16:creationId xmlns:a16="http://schemas.microsoft.com/office/drawing/2014/main" id="{9010271A-17ED-4A5B-A0EB-2876F47501E6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Přímá spojnice se šipkou 45">
            <a:extLst>
              <a:ext uri="{FF2B5EF4-FFF2-40B4-BE49-F238E27FC236}">
                <a16:creationId xmlns:a16="http://schemas.microsoft.com/office/drawing/2014/main" id="{634E779B-3AE5-4523-A534-CCE646D9C823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6">
            <a:extLst>
              <a:ext uri="{FF2B5EF4-FFF2-40B4-BE49-F238E27FC236}">
                <a16:creationId xmlns:a16="http://schemas.microsoft.com/office/drawing/2014/main" id="{4445F16F-875D-409C-8882-2FF72EDDA351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ovéPole 47">
            <a:extLst>
              <a:ext uri="{FF2B5EF4-FFF2-40B4-BE49-F238E27FC236}">
                <a16:creationId xmlns:a16="http://schemas.microsoft.com/office/drawing/2014/main" id="{644A0DF8-96DA-48FE-AD39-FADFECF26AA8}"/>
              </a:ext>
            </a:extLst>
          </p:cNvPr>
          <p:cNvSpPr txBox="1"/>
          <p:nvPr/>
        </p:nvSpPr>
        <p:spPr>
          <a:xfrm>
            <a:off x="8249941" y="2790122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Obdélník 48">
            <a:extLst>
              <a:ext uri="{FF2B5EF4-FFF2-40B4-BE49-F238E27FC236}">
                <a16:creationId xmlns:a16="http://schemas.microsoft.com/office/drawing/2014/main" id="{59A27A9E-CDD1-4C16-93E2-5EE9A9CC1535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23. 9. až 30. 9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50" name="TextovéPole 49">
            <a:extLst>
              <a:ext uri="{FF2B5EF4-FFF2-40B4-BE49-F238E27FC236}">
                <a16:creationId xmlns:a16="http://schemas.microsoft.com/office/drawing/2014/main" id="{6966058D-27FD-4774-8A6C-62E0B30D9DF7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60</a:t>
            </a:r>
          </a:p>
        </p:txBody>
      </p: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035B6880-0BB3-4C62-A03C-C9321C5D71ED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omalého růstu, R = 1,20</a:t>
            </a:r>
          </a:p>
        </p:txBody>
      </p:sp>
      <p:sp>
        <p:nvSpPr>
          <p:cNvPr id="55" name="Obdélník 54">
            <a:extLst>
              <a:ext uri="{FF2B5EF4-FFF2-40B4-BE49-F238E27FC236}">
                <a16:creationId xmlns:a16="http://schemas.microsoft.com/office/drawing/2014/main" id="{F1855FF5-1797-40B9-8E6D-4378E0A4EBFA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TextovéPole 55">
            <a:extLst>
              <a:ext uri="{FF2B5EF4-FFF2-40B4-BE49-F238E27FC236}">
                <a16:creationId xmlns:a16="http://schemas.microsoft.com/office/drawing/2014/main" id="{5CC97295-5606-4C7F-A38F-3898868D4A81}"/>
              </a:ext>
            </a:extLst>
          </p:cNvPr>
          <p:cNvSpPr txBox="1"/>
          <p:nvPr/>
        </p:nvSpPr>
        <p:spPr>
          <a:xfrm>
            <a:off x="4467521" y="278925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60</a:t>
            </a:r>
          </a:p>
        </p:txBody>
      </p:sp>
      <p:cxnSp>
        <p:nvCxnSpPr>
          <p:cNvPr id="58" name="Přímá spojnice 57">
            <a:extLst>
              <a:ext uri="{FF2B5EF4-FFF2-40B4-BE49-F238E27FC236}">
                <a16:creationId xmlns:a16="http://schemas.microsoft.com/office/drawing/2014/main" id="{C3015565-9F6A-4CEA-B06F-45C8E2BE59C6}"/>
              </a:ext>
            </a:extLst>
          </p:cNvPr>
          <p:cNvCxnSpPr>
            <a:cxnSpLocks/>
          </p:cNvCxnSpPr>
          <p:nvPr/>
        </p:nvCxnSpPr>
        <p:spPr>
          <a:xfrm>
            <a:off x="4173268" y="29442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331BF305-AD8F-402A-BF29-BED7285C2731}"/>
              </a:ext>
            </a:extLst>
          </p:cNvPr>
          <p:cNvSpPr txBox="1"/>
          <p:nvPr/>
        </p:nvSpPr>
        <p:spPr>
          <a:xfrm>
            <a:off x="4467521" y="29967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60" name="Přímá spojnice 59">
            <a:extLst>
              <a:ext uri="{FF2B5EF4-FFF2-40B4-BE49-F238E27FC236}">
                <a16:creationId xmlns:a16="http://schemas.microsoft.com/office/drawing/2014/main" id="{DA2EA607-72F9-4EE4-ACBE-45D0BC3E5250}"/>
              </a:ext>
            </a:extLst>
          </p:cNvPr>
          <p:cNvCxnSpPr>
            <a:cxnSpLocks/>
          </p:cNvCxnSpPr>
          <p:nvPr/>
        </p:nvCxnSpPr>
        <p:spPr>
          <a:xfrm>
            <a:off x="4173268" y="3167595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02B4D22A-4A6E-473A-A5E6-CAAA96C97CE6}"/>
              </a:ext>
            </a:extLst>
          </p:cNvPr>
          <p:cNvCxnSpPr>
            <a:cxnSpLocks/>
          </p:cNvCxnSpPr>
          <p:nvPr/>
        </p:nvCxnSpPr>
        <p:spPr>
          <a:xfrm>
            <a:off x="4173268" y="3572343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62" name="TextovéPole 61">
            <a:extLst>
              <a:ext uri="{FF2B5EF4-FFF2-40B4-BE49-F238E27FC236}">
                <a16:creationId xmlns:a16="http://schemas.microsoft.com/office/drawing/2014/main" id="{E33272B8-D470-4C1B-99CA-8A6349CC62B5}"/>
              </a:ext>
            </a:extLst>
          </p:cNvPr>
          <p:cNvSpPr txBox="1"/>
          <p:nvPr/>
        </p:nvSpPr>
        <p:spPr>
          <a:xfrm>
            <a:off x="4467521" y="3423047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10. 2021)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538AEC3F-6AA8-4B43-B977-5B4D13FA4B8C}"/>
              </a:ext>
            </a:extLst>
          </p:cNvPr>
          <p:cNvSpPr txBox="1"/>
          <p:nvPr/>
        </p:nvSpPr>
        <p:spPr>
          <a:xfrm>
            <a:off x="4468013" y="3216570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64" name="Přímá spojnice 63">
            <a:extLst>
              <a:ext uri="{FF2B5EF4-FFF2-40B4-BE49-F238E27FC236}">
                <a16:creationId xmlns:a16="http://schemas.microsoft.com/office/drawing/2014/main" id="{F0B25901-7CDA-42B5-8984-0E31F8A17A54}"/>
              </a:ext>
            </a:extLst>
          </p:cNvPr>
          <p:cNvCxnSpPr>
            <a:cxnSpLocks/>
          </p:cNvCxnSpPr>
          <p:nvPr/>
        </p:nvCxnSpPr>
        <p:spPr>
          <a:xfrm>
            <a:off x="4173268" y="3367779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59220111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</a:t>
            </a:r>
            <a:br>
              <a:rPr lang="cs-CZ" sz="1800" dirty="0">
                <a:latin typeface="+mj-lt"/>
              </a:rPr>
            </a:br>
            <a:r>
              <a:rPr lang="cs-CZ" sz="1800" dirty="0"/>
              <a:t>Kraj Vysočina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8EC53EB4-047F-4BDD-9F41-C7898B74C223}"/>
              </a:ext>
            </a:extLst>
          </p:cNvPr>
          <p:cNvGrpSpPr/>
          <p:nvPr/>
        </p:nvGrpSpPr>
        <p:grpSpPr>
          <a:xfrm>
            <a:off x="11015595" y="639500"/>
            <a:ext cx="1123991" cy="276446"/>
            <a:chOff x="12342906" y="6252118"/>
            <a:chExt cx="1866242" cy="459003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076E9F58-02CD-47B0-ACBE-3019FA90CF5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42906" y="6252118"/>
              <a:ext cx="402855" cy="459003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6F5A6C2A-6C78-4598-A1BB-FA9E298C7A6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6252118"/>
              <a:ext cx="1353386" cy="433584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105DE481-3169-4194-9086-AF1D559392A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50432992"/>
              </p:ext>
            </p:extLst>
          </p:nvPr>
        </p:nvGraphicFramePr>
        <p:xfrm>
          <a:off x="556549" y="1320754"/>
          <a:ext cx="11354940" cy="56007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4" name="TextovéPole 53">
            <a:extLst>
              <a:ext uri="{FF2B5EF4-FFF2-40B4-BE49-F238E27FC236}">
                <a16:creationId xmlns:a16="http://schemas.microsoft.com/office/drawing/2014/main" id="{C59ECBED-392B-4B8C-9ED3-224B89EB6902}"/>
              </a:ext>
            </a:extLst>
          </p:cNvPr>
          <p:cNvSpPr txBox="1"/>
          <p:nvPr/>
        </p:nvSpPr>
        <p:spPr>
          <a:xfrm>
            <a:off x="9333855" y="1250956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. 10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232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47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00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66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56" name="TextBox 6">
            <a:extLst>
              <a:ext uri="{FF2B5EF4-FFF2-40B4-BE49-F238E27FC236}">
                <a16:creationId xmlns:a16="http://schemas.microsoft.com/office/drawing/2014/main" id="{CC4E932E-28C4-4B88-A459-14EFF72D3F25}"/>
              </a:ext>
            </a:extLst>
          </p:cNvPr>
          <p:cNvSpPr txBox="1"/>
          <p:nvPr/>
        </p:nvSpPr>
        <p:spPr>
          <a:xfrm rot="16200000">
            <a:off x="-1483263" y="3813479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CA246777-C0DB-4768-9CF5-EAD02B8ED02F}"/>
              </a:ext>
            </a:extLst>
          </p:cNvPr>
          <p:cNvSpPr txBox="1"/>
          <p:nvPr/>
        </p:nvSpPr>
        <p:spPr>
          <a:xfrm>
            <a:off x="8847205" y="935895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3383955C-7217-464B-9FEF-96AD29757FC2}"/>
              </a:ext>
            </a:extLst>
          </p:cNvPr>
          <p:cNvSpPr txBox="1"/>
          <p:nvPr/>
        </p:nvSpPr>
        <p:spPr>
          <a:xfrm>
            <a:off x="11587374" y="4078418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532473DE-70DE-4D27-A790-29DB4A0C5A9C}"/>
              </a:ext>
            </a:extLst>
          </p:cNvPr>
          <p:cNvSpPr txBox="1"/>
          <p:nvPr/>
        </p:nvSpPr>
        <p:spPr>
          <a:xfrm>
            <a:off x="11587374" y="4894691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23DEB57F-C27F-423C-9ACF-D302C44EE171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23. 9. až 30. 9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ED800BD-60A9-4034-9984-BD6F5218609C}"/>
              </a:ext>
            </a:extLst>
          </p:cNvPr>
          <p:cNvSpPr txBox="1"/>
          <p:nvPr/>
        </p:nvSpPr>
        <p:spPr>
          <a:xfrm>
            <a:off x="5472652" y="100135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8D450479-3EE5-4277-A175-4F94CA7CE29E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C13B1DEB-1E20-442A-B468-7A5A43CFEAF6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6112E15E-7781-4E91-846A-D53AB0731471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826B233A-2B54-42FF-B7A3-41FFF1CE030A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49" name="Přímá spojnice 48">
            <a:extLst>
              <a:ext uri="{FF2B5EF4-FFF2-40B4-BE49-F238E27FC236}">
                <a16:creationId xmlns:a16="http://schemas.microsoft.com/office/drawing/2014/main" id="{0C8982CE-27E7-481E-A123-13295CE482F9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Přímá spojnice 49">
            <a:extLst>
              <a:ext uri="{FF2B5EF4-FFF2-40B4-BE49-F238E27FC236}">
                <a16:creationId xmlns:a16="http://schemas.microsoft.com/office/drawing/2014/main" id="{35A707BA-876C-4BD9-898A-652379BC0946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19406DF6-0E46-40A5-814F-2681C731CAA7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C43407A4-8252-44CD-ABE9-6D5965B59376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53" name="Přímá spojnice 52">
            <a:extLst>
              <a:ext uri="{FF2B5EF4-FFF2-40B4-BE49-F238E27FC236}">
                <a16:creationId xmlns:a16="http://schemas.microsoft.com/office/drawing/2014/main" id="{E4D4A2B1-EC08-4FED-96D2-8656E0290BF5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3954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Jihomoravský kraj</a:t>
            </a:r>
          </a:p>
        </p:txBody>
      </p:sp>
      <p:pic>
        <p:nvPicPr>
          <p:cNvPr id="27" name="Obrázek 9">
            <a:extLst>
              <a:ext uri="{FF2B5EF4-FFF2-40B4-BE49-F238E27FC236}">
                <a16:creationId xmlns:a16="http://schemas.microsoft.com/office/drawing/2014/main" id="{7CA754DC-A822-422C-92D5-2A3B36E4E5D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1787" y="576002"/>
            <a:ext cx="1470213" cy="352072"/>
          </a:xfrm>
          <a:prstGeom prst="rect">
            <a:avLst/>
          </a:prstGeom>
        </p:spPr>
      </p:pic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6E9B7F32-66AA-4E74-802C-D5BF6EA379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62027768"/>
              </p:ext>
            </p:extLst>
          </p:nvPr>
        </p:nvGraphicFramePr>
        <p:xfrm>
          <a:off x="556549" y="3433177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1" name="TextovéPole 60">
            <a:extLst>
              <a:ext uri="{FF2B5EF4-FFF2-40B4-BE49-F238E27FC236}">
                <a16:creationId xmlns:a16="http://schemas.microsoft.com/office/drawing/2014/main" id="{92BA41B9-08F0-4786-B3EC-D82C1009F27A}"/>
              </a:ext>
            </a:extLst>
          </p:cNvPr>
          <p:cNvSpPr txBox="1"/>
          <p:nvPr/>
        </p:nvSpPr>
        <p:spPr>
          <a:xfrm>
            <a:off x="10367102" y="2666032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. 10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1 315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783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511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325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226EB61B-B439-4315-8AC4-A9B4ABBA9FA6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cxnSp>
        <p:nvCxnSpPr>
          <p:cNvPr id="28" name="Přímá spojnice se šipkou 27">
            <a:extLst>
              <a:ext uri="{FF2B5EF4-FFF2-40B4-BE49-F238E27FC236}">
                <a16:creationId xmlns:a16="http://schemas.microsoft.com/office/drawing/2014/main" id="{1F655098-732E-446A-AAA2-47F79F608747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0D5A219D-8D56-453B-A51D-3DC076CEBD3F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6">
            <a:extLst>
              <a:ext uri="{FF2B5EF4-FFF2-40B4-BE49-F238E27FC236}">
                <a16:creationId xmlns:a16="http://schemas.microsoft.com/office/drawing/2014/main" id="{901FBC29-BCD7-4BA3-977F-DD211C5967C3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TextovéPole 43">
            <a:extLst>
              <a:ext uri="{FF2B5EF4-FFF2-40B4-BE49-F238E27FC236}">
                <a16:creationId xmlns:a16="http://schemas.microsoft.com/office/drawing/2014/main" id="{FFF34F4F-0194-43FB-A577-17626B6450CD}"/>
              </a:ext>
            </a:extLst>
          </p:cNvPr>
          <p:cNvSpPr txBox="1"/>
          <p:nvPr/>
        </p:nvSpPr>
        <p:spPr>
          <a:xfrm>
            <a:off x="8249941" y="2790122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Obdélník 44">
            <a:extLst>
              <a:ext uri="{FF2B5EF4-FFF2-40B4-BE49-F238E27FC236}">
                <a16:creationId xmlns:a16="http://schemas.microsoft.com/office/drawing/2014/main" id="{7A5320D1-9B41-4479-BE83-21E7F1AE3B8D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23. 9. až 30. 9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6784123C-FF3A-4018-8FEA-5E84718DD560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60</a:t>
            </a: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BE2CB734-A759-49D4-9478-60830FA4A1DF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omalého růstu, R = 1,20</a:t>
            </a:r>
          </a:p>
        </p:txBody>
      </p:sp>
      <p:sp>
        <p:nvSpPr>
          <p:cNvPr id="48" name="Obdélník 47">
            <a:extLst>
              <a:ext uri="{FF2B5EF4-FFF2-40B4-BE49-F238E27FC236}">
                <a16:creationId xmlns:a16="http://schemas.microsoft.com/office/drawing/2014/main" id="{1E6F74FA-33DF-41AA-9694-732ADDD8AAA0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BCC3BB19-B060-4442-8228-E2EDDE4FA606}"/>
              </a:ext>
            </a:extLst>
          </p:cNvPr>
          <p:cNvSpPr txBox="1"/>
          <p:nvPr/>
        </p:nvSpPr>
        <p:spPr>
          <a:xfrm>
            <a:off x="4467521" y="278925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60</a:t>
            </a:r>
          </a:p>
        </p:txBody>
      </p:sp>
      <p:cxnSp>
        <p:nvCxnSpPr>
          <p:cNvPr id="52" name="Přímá spojnice 51">
            <a:extLst>
              <a:ext uri="{FF2B5EF4-FFF2-40B4-BE49-F238E27FC236}">
                <a16:creationId xmlns:a16="http://schemas.microsoft.com/office/drawing/2014/main" id="{0F48CDB6-B5B4-4AE1-B10E-E74815498032}"/>
              </a:ext>
            </a:extLst>
          </p:cNvPr>
          <p:cNvCxnSpPr>
            <a:cxnSpLocks/>
          </p:cNvCxnSpPr>
          <p:nvPr/>
        </p:nvCxnSpPr>
        <p:spPr>
          <a:xfrm>
            <a:off x="4173268" y="29442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1FD68606-7D2C-4F64-AEA6-7588C95D5441}"/>
              </a:ext>
            </a:extLst>
          </p:cNvPr>
          <p:cNvSpPr txBox="1"/>
          <p:nvPr/>
        </p:nvSpPr>
        <p:spPr>
          <a:xfrm>
            <a:off x="4467521" y="29967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55" name="Přímá spojnice 54">
            <a:extLst>
              <a:ext uri="{FF2B5EF4-FFF2-40B4-BE49-F238E27FC236}">
                <a16:creationId xmlns:a16="http://schemas.microsoft.com/office/drawing/2014/main" id="{84141ED1-CED7-42C0-A234-0F2FC348ADF6}"/>
              </a:ext>
            </a:extLst>
          </p:cNvPr>
          <p:cNvCxnSpPr>
            <a:cxnSpLocks/>
          </p:cNvCxnSpPr>
          <p:nvPr/>
        </p:nvCxnSpPr>
        <p:spPr>
          <a:xfrm>
            <a:off x="4173268" y="3167595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56" name="Přímá spojnice 55">
            <a:extLst>
              <a:ext uri="{FF2B5EF4-FFF2-40B4-BE49-F238E27FC236}">
                <a16:creationId xmlns:a16="http://schemas.microsoft.com/office/drawing/2014/main" id="{D819ED95-0DB9-41A1-9F7E-A3F6F8F68D2C}"/>
              </a:ext>
            </a:extLst>
          </p:cNvPr>
          <p:cNvCxnSpPr>
            <a:cxnSpLocks/>
          </p:cNvCxnSpPr>
          <p:nvPr/>
        </p:nvCxnSpPr>
        <p:spPr>
          <a:xfrm>
            <a:off x="4173268" y="3572343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57" name="TextovéPole 56">
            <a:extLst>
              <a:ext uri="{FF2B5EF4-FFF2-40B4-BE49-F238E27FC236}">
                <a16:creationId xmlns:a16="http://schemas.microsoft.com/office/drawing/2014/main" id="{25C7B6EB-C051-48F7-9570-A06FB76B21E5}"/>
              </a:ext>
            </a:extLst>
          </p:cNvPr>
          <p:cNvSpPr txBox="1"/>
          <p:nvPr/>
        </p:nvSpPr>
        <p:spPr>
          <a:xfrm>
            <a:off x="4467521" y="3423047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10. 2021)</a:t>
            </a:r>
          </a:p>
        </p:txBody>
      </p:sp>
      <p:sp>
        <p:nvSpPr>
          <p:cNvPr id="58" name="TextovéPole 57">
            <a:extLst>
              <a:ext uri="{FF2B5EF4-FFF2-40B4-BE49-F238E27FC236}">
                <a16:creationId xmlns:a16="http://schemas.microsoft.com/office/drawing/2014/main" id="{2B6C4D26-64D6-4B3D-B9BD-0509C6258F32}"/>
              </a:ext>
            </a:extLst>
          </p:cNvPr>
          <p:cNvSpPr txBox="1"/>
          <p:nvPr/>
        </p:nvSpPr>
        <p:spPr>
          <a:xfrm>
            <a:off x="4468013" y="3216570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59" name="Přímá spojnice 58">
            <a:extLst>
              <a:ext uri="{FF2B5EF4-FFF2-40B4-BE49-F238E27FC236}">
                <a16:creationId xmlns:a16="http://schemas.microsoft.com/office/drawing/2014/main" id="{952339FE-EB59-4C24-A211-37B099CF232E}"/>
              </a:ext>
            </a:extLst>
          </p:cNvPr>
          <p:cNvCxnSpPr>
            <a:cxnSpLocks/>
          </p:cNvCxnSpPr>
          <p:nvPr/>
        </p:nvCxnSpPr>
        <p:spPr>
          <a:xfrm>
            <a:off x="4173268" y="3367779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89024696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Jihomoravský kraj</a:t>
            </a:r>
            <a:endParaRPr lang="cs-CZ" sz="1800" dirty="0">
              <a:latin typeface="+mj-lt"/>
            </a:endParaRPr>
          </a:p>
        </p:txBody>
      </p:sp>
      <p:pic>
        <p:nvPicPr>
          <p:cNvPr id="27" name="Obrázek 9">
            <a:extLst>
              <a:ext uri="{FF2B5EF4-FFF2-40B4-BE49-F238E27FC236}">
                <a16:creationId xmlns:a16="http://schemas.microsoft.com/office/drawing/2014/main" id="{24EC32A6-65D3-4A94-BD8B-77F272E735B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1787" y="576002"/>
            <a:ext cx="1470213" cy="352072"/>
          </a:xfrm>
          <a:prstGeom prst="rect">
            <a:avLst/>
          </a:prstGeom>
        </p:spPr>
      </p:pic>
      <p:graphicFrame>
        <p:nvGraphicFramePr>
          <p:cNvPr id="22" name="Chart 4">
            <a:extLst>
              <a:ext uri="{FF2B5EF4-FFF2-40B4-BE49-F238E27FC236}">
                <a16:creationId xmlns:a16="http://schemas.microsoft.com/office/drawing/2014/main" id="{28361F55-F8A1-49FB-A18A-7C1B538BBC7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63318450"/>
              </p:ext>
            </p:extLst>
          </p:nvPr>
        </p:nvGraphicFramePr>
        <p:xfrm>
          <a:off x="556549" y="1329143"/>
          <a:ext cx="11354940" cy="55288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2" name="TextovéPole 31">
            <a:extLst>
              <a:ext uri="{FF2B5EF4-FFF2-40B4-BE49-F238E27FC236}">
                <a16:creationId xmlns:a16="http://schemas.microsoft.com/office/drawing/2014/main" id="{51CA8DE4-F42A-4911-A380-B0805936C477}"/>
              </a:ext>
            </a:extLst>
          </p:cNvPr>
          <p:cNvSpPr txBox="1"/>
          <p:nvPr/>
        </p:nvSpPr>
        <p:spPr>
          <a:xfrm>
            <a:off x="8226574" y="1949142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. 10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483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307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208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37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52" name="TextBox 6">
            <a:extLst>
              <a:ext uri="{FF2B5EF4-FFF2-40B4-BE49-F238E27FC236}">
                <a16:creationId xmlns:a16="http://schemas.microsoft.com/office/drawing/2014/main" id="{FBAB8508-4B4A-4086-A6CC-235293A47FBA}"/>
              </a:ext>
            </a:extLst>
          </p:cNvPr>
          <p:cNvSpPr txBox="1"/>
          <p:nvPr/>
        </p:nvSpPr>
        <p:spPr>
          <a:xfrm rot="16200000">
            <a:off x="-1483263" y="3821868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CF5C42DC-5B8E-430E-86B1-092AD018A6AE}"/>
              </a:ext>
            </a:extLst>
          </p:cNvPr>
          <p:cNvSpPr txBox="1"/>
          <p:nvPr/>
        </p:nvSpPr>
        <p:spPr>
          <a:xfrm>
            <a:off x="7739924" y="1634081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56" name="TextovéPole 55">
            <a:extLst>
              <a:ext uri="{FF2B5EF4-FFF2-40B4-BE49-F238E27FC236}">
                <a16:creationId xmlns:a16="http://schemas.microsoft.com/office/drawing/2014/main" id="{30374619-248F-4A41-973E-D6EE172F9C0A}"/>
              </a:ext>
            </a:extLst>
          </p:cNvPr>
          <p:cNvSpPr txBox="1"/>
          <p:nvPr/>
        </p:nvSpPr>
        <p:spPr>
          <a:xfrm>
            <a:off x="11595023" y="4719884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57" name="TextovéPole 56">
            <a:extLst>
              <a:ext uri="{FF2B5EF4-FFF2-40B4-BE49-F238E27FC236}">
                <a16:creationId xmlns:a16="http://schemas.microsoft.com/office/drawing/2014/main" id="{0D77A5D0-30DB-4CB3-892C-0A4BB92677BC}"/>
              </a:ext>
            </a:extLst>
          </p:cNvPr>
          <p:cNvSpPr txBox="1"/>
          <p:nvPr/>
        </p:nvSpPr>
        <p:spPr>
          <a:xfrm>
            <a:off x="11595024" y="5388124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3862B181-69F9-4571-BBBD-AFC4ABC23E7B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23. 9. až 30. 9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48E2E99C-2067-4B61-9896-8B495513DE66}"/>
              </a:ext>
            </a:extLst>
          </p:cNvPr>
          <p:cNvSpPr txBox="1"/>
          <p:nvPr/>
        </p:nvSpPr>
        <p:spPr>
          <a:xfrm>
            <a:off x="5472652" y="100135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DEE3D639-65FE-4D99-B720-1C5A963A2FBA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49B97CBB-2E6D-4EA8-A7D7-E7C699767006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8" name="Přímá spojnice 27">
            <a:extLst>
              <a:ext uri="{FF2B5EF4-FFF2-40B4-BE49-F238E27FC236}">
                <a16:creationId xmlns:a16="http://schemas.microsoft.com/office/drawing/2014/main" id="{5CCC6E73-757D-4123-82F7-C01C956B8F3E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756801E3-747F-4B56-9D86-3FDF6D38951F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30" name="Přímá spojnice 29">
            <a:extLst>
              <a:ext uri="{FF2B5EF4-FFF2-40B4-BE49-F238E27FC236}">
                <a16:creationId xmlns:a16="http://schemas.microsoft.com/office/drawing/2014/main" id="{226BA1EE-F0B9-46F7-B172-A36E38D27200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Přímá spojnice 32">
            <a:extLst>
              <a:ext uri="{FF2B5EF4-FFF2-40B4-BE49-F238E27FC236}">
                <a16:creationId xmlns:a16="http://schemas.microsoft.com/office/drawing/2014/main" id="{C0AE6F29-DC29-4CC4-8B4F-17CC4D1E6A51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34B54D93-DB8D-4594-BA37-2C6ABDCA4AC1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32B52E11-693A-4B3C-AF47-3060151746EF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48" name="Přímá spojnice 47">
            <a:extLst>
              <a:ext uri="{FF2B5EF4-FFF2-40B4-BE49-F238E27FC236}">
                <a16:creationId xmlns:a16="http://schemas.microsoft.com/office/drawing/2014/main" id="{A08FE61C-1BFD-46BF-99E9-352ABB426F1B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7137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308FBC4-9856-48C7-8DF3-A027D07EF2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008" y="107933"/>
            <a:ext cx="6702661" cy="1059255"/>
          </a:xfrm>
        </p:spPr>
        <p:txBody>
          <a:bodyPr/>
          <a:lstStyle/>
          <a:p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Navržené scénáře krátkodobých modelů SIR  pro vývoj epidemie v říjnu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E5D9B15-9A2B-4DD9-96F4-1AF57AAB98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49" y="1706235"/>
            <a:ext cx="8658781" cy="442882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cs-CZ" sz="1600" b="1" dirty="0"/>
              <a:t>V návaznosti na novou kalibraci modelu 1. 10. byly připraveny nové projekce*</a:t>
            </a:r>
          </a:p>
          <a:p>
            <a:r>
              <a:rPr lang="cs-CZ" sz="1600" b="1" dirty="0">
                <a:solidFill>
                  <a:srgbClr val="00B050"/>
                </a:solidFill>
              </a:rPr>
              <a:t>Scénář středního růstu; předpokládané R = 1,20)</a:t>
            </a:r>
          </a:p>
          <a:p>
            <a:pPr lvl="1"/>
            <a:r>
              <a:rPr lang="cs-CZ" sz="1400" dirty="0"/>
              <a:t>střední nárůst počtů rizikových kontaktů, mírně postupující vakcinace</a:t>
            </a:r>
          </a:p>
          <a:p>
            <a:r>
              <a:rPr lang="cs-CZ" sz="1600" b="1" dirty="0">
                <a:solidFill>
                  <a:srgbClr val="0070C0"/>
                </a:solidFill>
              </a:rPr>
              <a:t>Scénář rychlého růstu, předpokládané R = 1,30)</a:t>
            </a:r>
          </a:p>
          <a:p>
            <a:pPr lvl="1"/>
            <a:r>
              <a:rPr lang="cs-CZ" sz="1400" dirty="0"/>
              <a:t>vysoký počet rizikových kontaktů, nedostatečná kolektivní imunita, vakcinace významně v čase nepostupuje a narůstá schopnost viru očkování obejít</a:t>
            </a:r>
          </a:p>
          <a:p>
            <a:r>
              <a:rPr lang="cs-CZ" sz="1600" b="1" dirty="0">
                <a:solidFill>
                  <a:srgbClr val="FFC618"/>
                </a:solidFill>
              </a:rPr>
              <a:t>Scénář velmi rychlého růstu, předpokládané R = 1,40)</a:t>
            </a:r>
          </a:p>
          <a:p>
            <a:pPr lvl="1"/>
            <a:r>
              <a:rPr lang="cs-CZ" sz="1400" dirty="0"/>
              <a:t>nárůst kontaktů, nedostatečná kolektivní imunita, zhoršování situace v důsledku kvůli sezónnosti</a:t>
            </a:r>
          </a:p>
          <a:p>
            <a:pPr lvl="1"/>
            <a:r>
              <a:rPr lang="cs-CZ" sz="1400" dirty="0"/>
              <a:t>vysoký počet rizikových kontaktů, nedostatečné dodržování opatření, nedostatečná kolektivní imunita, vakcinace významně v čase nepostupuje a narůstá schopnost viru očkování obejít</a:t>
            </a:r>
          </a:p>
          <a:p>
            <a:r>
              <a:rPr lang="cs-CZ" sz="1600" b="1" dirty="0">
                <a:solidFill>
                  <a:srgbClr val="FF0000"/>
                </a:solidFill>
              </a:rPr>
              <a:t>Scénář velmi rychlého růstu, předpokládané R = 1,60)</a:t>
            </a:r>
          </a:p>
          <a:p>
            <a:pPr lvl="1"/>
            <a:r>
              <a:rPr lang="cs-CZ" sz="1400" dirty="0"/>
              <a:t>nárůst kontaktů, nedostatečná kolektivní imunita, zhoršování situace v důsledku kvůli sezónnosti</a:t>
            </a:r>
          </a:p>
          <a:p>
            <a:pPr lvl="1"/>
            <a:r>
              <a:rPr lang="cs-CZ" sz="1400" dirty="0"/>
              <a:t>vysoký počet rizikových kontaktů, nedostatečné dodržování opatření, nedostatečná kolektivní imunita, vakcinace významně v čase nepostupuje a narůstá schopnost viru očkování obejít</a:t>
            </a:r>
          </a:p>
          <a:p>
            <a:pPr lvl="1"/>
            <a:endParaRPr lang="cs-CZ" sz="1400" dirty="0"/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267E8C24-967E-41C5-A2B5-229406E471EE}"/>
              </a:ext>
            </a:extLst>
          </p:cNvPr>
          <p:cNvSpPr txBox="1"/>
          <p:nvPr/>
        </p:nvSpPr>
        <p:spPr>
          <a:xfrm>
            <a:off x="79129" y="5961934"/>
            <a:ext cx="1204546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Projekce odpovídají kalibraci reprodukčního čísla epidemiologickým modelem pro krátkodobé predikce ÚZIS ČR v segmentu o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3.8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do 30.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1, odha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,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8 (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,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,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), interval odpovídá 95% intervalu neurčitosti z odhadů získaných kalibrací modelu, kalibračním cílem byly denní přírůstky s vyjmutím volných dnů a exponenciální váhou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énáře pro různou dynamiku šíření epidemie v následujícím období jsou aplikovány od 2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1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2D739824-474B-43E5-809C-B87901C8C83E}"/>
              </a:ext>
            </a:extLst>
          </p:cNvPr>
          <p:cNvSpPr txBox="1"/>
          <p:nvPr/>
        </p:nvSpPr>
        <p:spPr>
          <a:xfrm>
            <a:off x="9029700" y="1953638"/>
            <a:ext cx="3015762" cy="34163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átkodobé projekce vývoje na bázi modelů SIR nenahrazují dlouhodobé populační modely sledování vývoje epidemie. Projekce slouží zejména k doložení pravděpodobného vývoje počtu nových případů při dané dynamice růstu virové zátěže, tedy pro přípravu kapacit v managementu epidemie.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022634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Olomoucký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B637B5CA-7ABB-4CAC-8917-2464D7474930}"/>
              </a:ext>
            </a:extLst>
          </p:cNvPr>
          <p:cNvGrpSpPr/>
          <p:nvPr/>
        </p:nvGrpSpPr>
        <p:grpSpPr>
          <a:xfrm>
            <a:off x="11077811" y="576002"/>
            <a:ext cx="1063351" cy="297378"/>
            <a:chOff x="12381439" y="4241938"/>
            <a:chExt cx="2118964" cy="592592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B67231B6-229F-40B5-B88A-FFD124DE20B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81439" y="4338569"/>
              <a:ext cx="352232" cy="437330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72AC0F59-F4CD-4492-ADFE-D4AAAD6B6C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7614" b="9791"/>
            <a:stretch/>
          </p:blipFill>
          <p:spPr>
            <a:xfrm>
              <a:off x="12855762" y="4241938"/>
              <a:ext cx="1644641" cy="592592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8CCBB09F-B8CB-457E-873F-1EA18F8F1E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35895023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5" name="TextovéPole 64">
            <a:extLst>
              <a:ext uri="{FF2B5EF4-FFF2-40B4-BE49-F238E27FC236}">
                <a16:creationId xmlns:a16="http://schemas.microsoft.com/office/drawing/2014/main" id="{D35CF42D-91E6-467D-B3C6-0C0CA9A006ED}"/>
              </a:ext>
            </a:extLst>
          </p:cNvPr>
          <p:cNvSpPr txBox="1"/>
          <p:nvPr/>
        </p:nvSpPr>
        <p:spPr>
          <a:xfrm>
            <a:off x="10253862" y="2617409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. 10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473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81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84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17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AAA7113D-DD94-4FBB-BEC0-64C341684938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cxnSp>
        <p:nvCxnSpPr>
          <p:cNvPr id="45" name="Přímá spojnice se šipkou 44">
            <a:extLst>
              <a:ext uri="{FF2B5EF4-FFF2-40B4-BE49-F238E27FC236}">
                <a16:creationId xmlns:a16="http://schemas.microsoft.com/office/drawing/2014/main" id="{336B86E9-B8C6-4E2C-8656-32CDD9F726F1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Přímá spojnice se šipkou 45">
            <a:extLst>
              <a:ext uri="{FF2B5EF4-FFF2-40B4-BE49-F238E27FC236}">
                <a16:creationId xmlns:a16="http://schemas.microsoft.com/office/drawing/2014/main" id="{B3C61762-5A35-49E1-953A-8BD18BC56A15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6">
            <a:extLst>
              <a:ext uri="{FF2B5EF4-FFF2-40B4-BE49-F238E27FC236}">
                <a16:creationId xmlns:a16="http://schemas.microsoft.com/office/drawing/2014/main" id="{ACA29712-A616-4D75-91D2-386183AFC5CC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ovéPole 47">
            <a:extLst>
              <a:ext uri="{FF2B5EF4-FFF2-40B4-BE49-F238E27FC236}">
                <a16:creationId xmlns:a16="http://schemas.microsoft.com/office/drawing/2014/main" id="{41498974-E459-46BB-BFAC-157AACD7AC09}"/>
              </a:ext>
            </a:extLst>
          </p:cNvPr>
          <p:cNvSpPr txBox="1"/>
          <p:nvPr/>
        </p:nvSpPr>
        <p:spPr>
          <a:xfrm>
            <a:off x="8249941" y="2790122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Obdélník 48">
            <a:extLst>
              <a:ext uri="{FF2B5EF4-FFF2-40B4-BE49-F238E27FC236}">
                <a16:creationId xmlns:a16="http://schemas.microsoft.com/office/drawing/2014/main" id="{209786EA-04E9-46C5-9A90-72F3EF1E35EA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23. 9. až 30. 9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50" name="TextovéPole 49">
            <a:extLst>
              <a:ext uri="{FF2B5EF4-FFF2-40B4-BE49-F238E27FC236}">
                <a16:creationId xmlns:a16="http://schemas.microsoft.com/office/drawing/2014/main" id="{8B3D6024-BC2C-4E22-9657-D6FDD2C67161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60</a:t>
            </a:r>
          </a:p>
        </p:txBody>
      </p: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1DDB758D-14F5-4EC9-9C6F-60AEE1CF0FEE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omalého růstu, R = 1,20</a:t>
            </a:r>
          </a:p>
        </p:txBody>
      </p:sp>
      <p:sp>
        <p:nvSpPr>
          <p:cNvPr id="55" name="Obdélník 54">
            <a:extLst>
              <a:ext uri="{FF2B5EF4-FFF2-40B4-BE49-F238E27FC236}">
                <a16:creationId xmlns:a16="http://schemas.microsoft.com/office/drawing/2014/main" id="{CDBAAB1A-C4C1-40A0-ABF2-FD5827129D79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TextovéPole 55">
            <a:extLst>
              <a:ext uri="{FF2B5EF4-FFF2-40B4-BE49-F238E27FC236}">
                <a16:creationId xmlns:a16="http://schemas.microsoft.com/office/drawing/2014/main" id="{5F0DF3CA-6358-46E7-81B7-DBF5258C111C}"/>
              </a:ext>
            </a:extLst>
          </p:cNvPr>
          <p:cNvSpPr txBox="1"/>
          <p:nvPr/>
        </p:nvSpPr>
        <p:spPr>
          <a:xfrm>
            <a:off x="4467521" y="278925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60</a:t>
            </a:r>
          </a:p>
        </p:txBody>
      </p:sp>
      <p:cxnSp>
        <p:nvCxnSpPr>
          <p:cNvPr id="58" name="Přímá spojnice 57">
            <a:extLst>
              <a:ext uri="{FF2B5EF4-FFF2-40B4-BE49-F238E27FC236}">
                <a16:creationId xmlns:a16="http://schemas.microsoft.com/office/drawing/2014/main" id="{630BE859-61EE-4495-9438-C6BBCABBDA9E}"/>
              </a:ext>
            </a:extLst>
          </p:cNvPr>
          <p:cNvCxnSpPr>
            <a:cxnSpLocks/>
          </p:cNvCxnSpPr>
          <p:nvPr/>
        </p:nvCxnSpPr>
        <p:spPr>
          <a:xfrm>
            <a:off x="4173268" y="29442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1E7EC26C-D1B2-457C-A5F9-AA2987A7C25B}"/>
              </a:ext>
            </a:extLst>
          </p:cNvPr>
          <p:cNvSpPr txBox="1"/>
          <p:nvPr/>
        </p:nvSpPr>
        <p:spPr>
          <a:xfrm>
            <a:off x="4467521" y="29967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60" name="Přímá spojnice 59">
            <a:extLst>
              <a:ext uri="{FF2B5EF4-FFF2-40B4-BE49-F238E27FC236}">
                <a16:creationId xmlns:a16="http://schemas.microsoft.com/office/drawing/2014/main" id="{FB672E0A-B272-44F7-A2BE-9F33F592D95B}"/>
              </a:ext>
            </a:extLst>
          </p:cNvPr>
          <p:cNvCxnSpPr>
            <a:cxnSpLocks/>
          </p:cNvCxnSpPr>
          <p:nvPr/>
        </p:nvCxnSpPr>
        <p:spPr>
          <a:xfrm>
            <a:off x="4173268" y="3167595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4BB03F11-080A-4DFF-AF2A-CC19092BA630}"/>
              </a:ext>
            </a:extLst>
          </p:cNvPr>
          <p:cNvCxnSpPr>
            <a:cxnSpLocks/>
          </p:cNvCxnSpPr>
          <p:nvPr/>
        </p:nvCxnSpPr>
        <p:spPr>
          <a:xfrm>
            <a:off x="4173268" y="3572343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62" name="TextovéPole 61">
            <a:extLst>
              <a:ext uri="{FF2B5EF4-FFF2-40B4-BE49-F238E27FC236}">
                <a16:creationId xmlns:a16="http://schemas.microsoft.com/office/drawing/2014/main" id="{399A6589-DCB4-4333-A34B-16F9B439EE1F}"/>
              </a:ext>
            </a:extLst>
          </p:cNvPr>
          <p:cNvSpPr txBox="1"/>
          <p:nvPr/>
        </p:nvSpPr>
        <p:spPr>
          <a:xfrm>
            <a:off x="4467521" y="3423047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10. 2021)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F961011D-8064-41B3-AA3E-3D9DEAD5D121}"/>
              </a:ext>
            </a:extLst>
          </p:cNvPr>
          <p:cNvSpPr txBox="1"/>
          <p:nvPr/>
        </p:nvSpPr>
        <p:spPr>
          <a:xfrm>
            <a:off x="4468013" y="3216570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64" name="Přímá spojnice 63">
            <a:extLst>
              <a:ext uri="{FF2B5EF4-FFF2-40B4-BE49-F238E27FC236}">
                <a16:creationId xmlns:a16="http://schemas.microsoft.com/office/drawing/2014/main" id="{9CECAC71-312A-4A6E-8A2D-A95D842D96CA}"/>
              </a:ext>
            </a:extLst>
          </p:cNvPr>
          <p:cNvCxnSpPr>
            <a:cxnSpLocks/>
          </p:cNvCxnSpPr>
          <p:nvPr/>
        </p:nvCxnSpPr>
        <p:spPr>
          <a:xfrm>
            <a:off x="4173268" y="3367779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57970106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Olomouc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8EAAEC9C-9787-42E1-8FA6-6339E87A1247}"/>
              </a:ext>
            </a:extLst>
          </p:cNvPr>
          <p:cNvGrpSpPr/>
          <p:nvPr/>
        </p:nvGrpSpPr>
        <p:grpSpPr>
          <a:xfrm>
            <a:off x="11077811" y="576002"/>
            <a:ext cx="1063351" cy="297378"/>
            <a:chOff x="12381439" y="4241938"/>
            <a:chExt cx="2118964" cy="592592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3091EF52-9329-4CE6-B7B2-34AAEE6283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81439" y="4338569"/>
              <a:ext cx="352232" cy="437330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D6B9575F-24DE-4CAD-B5A2-0750DA68E1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7614" b="9791"/>
            <a:stretch/>
          </p:blipFill>
          <p:spPr>
            <a:xfrm>
              <a:off x="12855762" y="4241938"/>
              <a:ext cx="1644641" cy="592592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6B8EBB15-CC75-4B3F-8CC8-B51E906658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50509950"/>
              </p:ext>
            </p:extLst>
          </p:nvPr>
        </p:nvGraphicFramePr>
        <p:xfrm>
          <a:off x="556549" y="1161363"/>
          <a:ext cx="11354940" cy="5696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4" name="TextovéPole 53">
            <a:extLst>
              <a:ext uri="{FF2B5EF4-FFF2-40B4-BE49-F238E27FC236}">
                <a16:creationId xmlns:a16="http://schemas.microsoft.com/office/drawing/2014/main" id="{F27E31CB-D82B-4489-A0D9-F007DBB72319}"/>
              </a:ext>
            </a:extLst>
          </p:cNvPr>
          <p:cNvSpPr txBox="1"/>
          <p:nvPr/>
        </p:nvSpPr>
        <p:spPr>
          <a:xfrm>
            <a:off x="8142515" y="1987005"/>
            <a:ext cx="1945049" cy="118494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. 10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329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09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42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94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56" name="TextBox 6">
            <a:extLst>
              <a:ext uri="{FF2B5EF4-FFF2-40B4-BE49-F238E27FC236}">
                <a16:creationId xmlns:a16="http://schemas.microsoft.com/office/drawing/2014/main" id="{9B321D5A-49D2-455B-BEE8-969A4E2FBE3B}"/>
              </a:ext>
            </a:extLst>
          </p:cNvPr>
          <p:cNvSpPr txBox="1"/>
          <p:nvPr/>
        </p:nvSpPr>
        <p:spPr>
          <a:xfrm rot="16200000">
            <a:off x="-1483263" y="3654088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E448E90C-007F-461A-A608-47E6F4A5BF89}"/>
              </a:ext>
            </a:extLst>
          </p:cNvPr>
          <p:cNvSpPr txBox="1"/>
          <p:nvPr/>
        </p:nvSpPr>
        <p:spPr>
          <a:xfrm>
            <a:off x="7655865" y="1671944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FF69147F-910E-4428-AD52-9D2F2CEF0DBD}"/>
              </a:ext>
            </a:extLst>
          </p:cNvPr>
          <p:cNvSpPr txBox="1"/>
          <p:nvPr/>
        </p:nvSpPr>
        <p:spPr>
          <a:xfrm>
            <a:off x="11600404" y="4812755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AAA79C2D-7BC3-4C0C-82C1-AABCBC59E385}"/>
              </a:ext>
            </a:extLst>
          </p:cNvPr>
          <p:cNvSpPr txBox="1"/>
          <p:nvPr/>
        </p:nvSpPr>
        <p:spPr>
          <a:xfrm>
            <a:off x="11620312" y="5282546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FB8F60B-F915-4855-A1C2-13E6BA64177E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23. 9. až 30. 9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B0ED8788-15FE-41D9-90CD-DC633DECCD6A}"/>
              </a:ext>
            </a:extLst>
          </p:cNvPr>
          <p:cNvSpPr txBox="1"/>
          <p:nvPr/>
        </p:nvSpPr>
        <p:spPr>
          <a:xfrm>
            <a:off x="5472652" y="100135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0F33563B-7374-4043-ACA7-C1BE9E139011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E3E59107-6C99-48E8-A96B-E989A6A7A554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F09EF548-78ED-4BBD-888D-6AA66BFB001A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F0D3E548-54EC-48A7-8DB7-A6D2BBA1BA65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49" name="Přímá spojnice 48">
            <a:extLst>
              <a:ext uri="{FF2B5EF4-FFF2-40B4-BE49-F238E27FC236}">
                <a16:creationId xmlns:a16="http://schemas.microsoft.com/office/drawing/2014/main" id="{DACAD952-5979-4E18-B894-BD626B22B883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Přímá spojnice 49">
            <a:extLst>
              <a:ext uri="{FF2B5EF4-FFF2-40B4-BE49-F238E27FC236}">
                <a16:creationId xmlns:a16="http://schemas.microsoft.com/office/drawing/2014/main" id="{7D1E32E8-A899-4276-8F04-33BA2DCF8AE2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7E9FC879-599C-4E05-8E9C-D72546D6C751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78C917F3-4742-4729-9B16-6D825BEB15E2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53" name="Přímá spojnice 52">
            <a:extLst>
              <a:ext uri="{FF2B5EF4-FFF2-40B4-BE49-F238E27FC236}">
                <a16:creationId xmlns:a16="http://schemas.microsoft.com/office/drawing/2014/main" id="{0A3D715F-0413-4CDB-8F5F-593BDA753D0F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336142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Zlínský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EE210122-DB31-48AA-8AC8-EFFE3245B4F9}"/>
              </a:ext>
            </a:extLst>
          </p:cNvPr>
          <p:cNvGrpSpPr/>
          <p:nvPr/>
        </p:nvGrpSpPr>
        <p:grpSpPr>
          <a:xfrm>
            <a:off x="10732168" y="598017"/>
            <a:ext cx="1459832" cy="336698"/>
            <a:chOff x="12350220" y="6820895"/>
            <a:chExt cx="2317881" cy="534600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2C333EC3-C379-4CD6-9480-FAECD12AA1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50220" y="6820895"/>
              <a:ext cx="534600" cy="534600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68E2DB84-5B2F-489B-85AC-0F5E2D56F84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836" b="5966"/>
            <a:stretch/>
          </p:blipFill>
          <p:spPr>
            <a:xfrm>
              <a:off x="12927151" y="6867935"/>
              <a:ext cx="1740950" cy="433585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EAF49646-B7A3-4163-9CF0-F50DA809B5D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08915217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5" name="TextovéPole 64">
            <a:extLst>
              <a:ext uri="{FF2B5EF4-FFF2-40B4-BE49-F238E27FC236}">
                <a16:creationId xmlns:a16="http://schemas.microsoft.com/office/drawing/2014/main" id="{341CA29C-CA66-427F-A137-F4C44BE0E5C3}"/>
              </a:ext>
            </a:extLst>
          </p:cNvPr>
          <p:cNvSpPr txBox="1"/>
          <p:nvPr/>
        </p:nvSpPr>
        <p:spPr>
          <a:xfrm>
            <a:off x="10463126" y="2366531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. 10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427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54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66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05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11350A8C-1B21-4873-BCB0-861E6A1419F5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cxnSp>
        <p:nvCxnSpPr>
          <p:cNvPr id="45" name="Přímá spojnice se šipkou 44">
            <a:extLst>
              <a:ext uri="{FF2B5EF4-FFF2-40B4-BE49-F238E27FC236}">
                <a16:creationId xmlns:a16="http://schemas.microsoft.com/office/drawing/2014/main" id="{D35C55E1-A5D0-40D7-917B-4B15721BAB3D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Přímá spojnice se šipkou 45">
            <a:extLst>
              <a:ext uri="{FF2B5EF4-FFF2-40B4-BE49-F238E27FC236}">
                <a16:creationId xmlns:a16="http://schemas.microsoft.com/office/drawing/2014/main" id="{7C7463F4-550E-4CBD-9F54-14C62115E706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6">
            <a:extLst>
              <a:ext uri="{FF2B5EF4-FFF2-40B4-BE49-F238E27FC236}">
                <a16:creationId xmlns:a16="http://schemas.microsoft.com/office/drawing/2014/main" id="{33E52F61-3ECE-421C-837B-7CF8F7E2CC6C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ovéPole 47">
            <a:extLst>
              <a:ext uri="{FF2B5EF4-FFF2-40B4-BE49-F238E27FC236}">
                <a16:creationId xmlns:a16="http://schemas.microsoft.com/office/drawing/2014/main" id="{001D90DB-3CFF-44DB-BA5F-E8F86F01A395}"/>
              </a:ext>
            </a:extLst>
          </p:cNvPr>
          <p:cNvSpPr txBox="1"/>
          <p:nvPr/>
        </p:nvSpPr>
        <p:spPr>
          <a:xfrm>
            <a:off x="8249941" y="2790122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Obdélník 48">
            <a:extLst>
              <a:ext uri="{FF2B5EF4-FFF2-40B4-BE49-F238E27FC236}">
                <a16:creationId xmlns:a16="http://schemas.microsoft.com/office/drawing/2014/main" id="{2107AB09-87F1-475A-98A3-1FB9F6436D69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23. 9. až 30. 9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50" name="TextovéPole 49">
            <a:extLst>
              <a:ext uri="{FF2B5EF4-FFF2-40B4-BE49-F238E27FC236}">
                <a16:creationId xmlns:a16="http://schemas.microsoft.com/office/drawing/2014/main" id="{8EBD3B0B-624D-4A1A-8172-5EF45849A9F9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60</a:t>
            </a:r>
          </a:p>
        </p:txBody>
      </p: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4A2DD144-DE15-49F9-A675-4A790FC0B287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omalého růstu, R = 1,20</a:t>
            </a:r>
          </a:p>
        </p:txBody>
      </p:sp>
      <p:sp>
        <p:nvSpPr>
          <p:cNvPr id="55" name="Obdélník 54">
            <a:extLst>
              <a:ext uri="{FF2B5EF4-FFF2-40B4-BE49-F238E27FC236}">
                <a16:creationId xmlns:a16="http://schemas.microsoft.com/office/drawing/2014/main" id="{3D464400-7767-433E-9857-39AA2D271147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TextovéPole 55">
            <a:extLst>
              <a:ext uri="{FF2B5EF4-FFF2-40B4-BE49-F238E27FC236}">
                <a16:creationId xmlns:a16="http://schemas.microsoft.com/office/drawing/2014/main" id="{2DF27549-14B0-42AB-9D0F-3E1BC6859512}"/>
              </a:ext>
            </a:extLst>
          </p:cNvPr>
          <p:cNvSpPr txBox="1"/>
          <p:nvPr/>
        </p:nvSpPr>
        <p:spPr>
          <a:xfrm>
            <a:off x="4467521" y="278925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60</a:t>
            </a:r>
          </a:p>
        </p:txBody>
      </p:sp>
      <p:cxnSp>
        <p:nvCxnSpPr>
          <p:cNvPr id="58" name="Přímá spojnice 57">
            <a:extLst>
              <a:ext uri="{FF2B5EF4-FFF2-40B4-BE49-F238E27FC236}">
                <a16:creationId xmlns:a16="http://schemas.microsoft.com/office/drawing/2014/main" id="{96309AAC-D96F-477F-B355-55B5561580F3}"/>
              </a:ext>
            </a:extLst>
          </p:cNvPr>
          <p:cNvCxnSpPr>
            <a:cxnSpLocks/>
          </p:cNvCxnSpPr>
          <p:nvPr/>
        </p:nvCxnSpPr>
        <p:spPr>
          <a:xfrm>
            <a:off x="4173268" y="29442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103C2832-987E-4E9E-95D6-969552A1C254}"/>
              </a:ext>
            </a:extLst>
          </p:cNvPr>
          <p:cNvSpPr txBox="1"/>
          <p:nvPr/>
        </p:nvSpPr>
        <p:spPr>
          <a:xfrm>
            <a:off x="4467521" y="29967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60" name="Přímá spojnice 59">
            <a:extLst>
              <a:ext uri="{FF2B5EF4-FFF2-40B4-BE49-F238E27FC236}">
                <a16:creationId xmlns:a16="http://schemas.microsoft.com/office/drawing/2014/main" id="{4E3749C7-C03A-42F7-B3B6-B08E7C7D3115}"/>
              </a:ext>
            </a:extLst>
          </p:cNvPr>
          <p:cNvCxnSpPr>
            <a:cxnSpLocks/>
          </p:cNvCxnSpPr>
          <p:nvPr/>
        </p:nvCxnSpPr>
        <p:spPr>
          <a:xfrm>
            <a:off x="4173268" y="3167595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81272B19-6F40-4E7F-B635-8CFE2D7E6D1E}"/>
              </a:ext>
            </a:extLst>
          </p:cNvPr>
          <p:cNvCxnSpPr>
            <a:cxnSpLocks/>
          </p:cNvCxnSpPr>
          <p:nvPr/>
        </p:nvCxnSpPr>
        <p:spPr>
          <a:xfrm>
            <a:off x="4173268" y="3572343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62" name="TextovéPole 61">
            <a:extLst>
              <a:ext uri="{FF2B5EF4-FFF2-40B4-BE49-F238E27FC236}">
                <a16:creationId xmlns:a16="http://schemas.microsoft.com/office/drawing/2014/main" id="{43F36FFE-31C0-4273-AD2A-2735CBAC70AD}"/>
              </a:ext>
            </a:extLst>
          </p:cNvPr>
          <p:cNvSpPr txBox="1"/>
          <p:nvPr/>
        </p:nvSpPr>
        <p:spPr>
          <a:xfrm>
            <a:off x="4467521" y="3423047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10. 2021)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3D082C7-D117-446D-A59C-F98749FB222D}"/>
              </a:ext>
            </a:extLst>
          </p:cNvPr>
          <p:cNvSpPr txBox="1"/>
          <p:nvPr/>
        </p:nvSpPr>
        <p:spPr>
          <a:xfrm>
            <a:off x="4468013" y="3216570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64" name="Přímá spojnice 63">
            <a:extLst>
              <a:ext uri="{FF2B5EF4-FFF2-40B4-BE49-F238E27FC236}">
                <a16:creationId xmlns:a16="http://schemas.microsoft.com/office/drawing/2014/main" id="{0008F772-20C1-4A17-86D7-F4F9921D7E92}"/>
              </a:ext>
            </a:extLst>
          </p:cNvPr>
          <p:cNvCxnSpPr>
            <a:cxnSpLocks/>
          </p:cNvCxnSpPr>
          <p:nvPr/>
        </p:nvCxnSpPr>
        <p:spPr>
          <a:xfrm>
            <a:off x="4173268" y="3367779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3096909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</a:t>
            </a:r>
            <a:br>
              <a:rPr lang="cs-CZ" sz="1800" dirty="0">
                <a:latin typeface="+mj-lt"/>
              </a:rPr>
            </a:br>
            <a:r>
              <a:rPr lang="cs-CZ" sz="1800" dirty="0"/>
              <a:t>Zlíns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ABBEF440-9B73-4678-85E1-C7EA118090D8}"/>
              </a:ext>
            </a:extLst>
          </p:cNvPr>
          <p:cNvGrpSpPr/>
          <p:nvPr/>
        </p:nvGrpSpPr>
        <p:grpSpPr>
          <a:xfrm>
            <a:off x="10732168" y="598017"/>
            <a:ext cx="1459832" cy="336698"/>
            <a:chOff x="12350220" y="6820895"/>
            <a:chExt cx="2317881" cy="534600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FEC49A19-88DC-4B7C-9826-5AF41E51014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50220" y="6820895"/>
              <a:ext cx="534600" cy="534600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6E485FB9-C538-4482-A44B-56C3E56E70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836" b="5966"/>
            <a:stretch/>
          </p:blipFill>
          <p:spPr>
            <a:xfrm>
              <a:off x="12927151" y="6867935"/>
              <a:ext cx="1740950" cy="433585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091E9871-321F-4599-8D36-5B7F507F45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41230062"/>
              </p:ext>
            </p:extLst>
          </p:nvPr>
        </p:nvGraphicFramePr>
        <p:xfrm>
          <a:off x="556549" y="1379477"/>
          <a:ext cx="11354940" cy="54785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4" name="TextovéPole 53">
            <a:extLst>
              <a:ext uri="{FF2B5EF4-FFF2-40B4-BE49-F238E27FC236}">
                <a16:creationId xmlns:a16="http://schemas.microsoft.com/office/drawing/2014/main" id="{6D590D3C-7DF0-43FE-9EDA-B816F4B8A719}"/>
              </a:ext>
            </a:extLst>
          </p:cNvPr>
          <p:cNvSpPr txBox="1"/>
          <p:nvPr/>
        </p:nvSpPr>
        <p:spPr>
          <a:xfrm>
            <a:off x="8426230" y="1969123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. 10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323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06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39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92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56" name="TextBox 6">
            <a:extLst>
              <a:ext uri="{FF2B5EF4-FFF2-40B4-BE49-F238E27FC236}">
                <a16:creationId xmlns:a16="http://schemas.microsoft.com/office/drawing/2014/main" id="{DB2CB1B4-5425-4408-BE99-BF8E18F3FC13}"/>
              </a:ext>
            </a:extLst>
          </p:cNvPr>
          <p:cNvSpPr txBox="1"/>
          <p:nvPr/>
        </p:nvSpPr>
        <p:spPr>
          <a:xfrm rot="16200000">
            <a:off x="-1263868" y="3866092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B35D76F8-DF26-4078-8688-AF2317E3F0CF}"/>
              </a:ext>
            </a:extLst>
          </p:cNvPr>
          <p:cNvSpPr txBox="1"/>
          <p:nvPr/>
        </p:nvSpPr>
        <p:spPr>
          <a:xfrm>
            <a:off x="7939580" y="1654062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CBEA7757-5875-4A54-80B2-A563C4A610A4}"/>
              </a:ext>
            </a:extLst>
          </p:cNvPr>
          <p:cNvSpPr txBox="1"/>
          <p:nvPr/>
        </p:nvSpPr>
        <p:spPr>
          <a:xfrm>
            <a:off x="11614458" y="3837395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2DA1F8C7-012F-49D0-888B-361A41EF5969}"/>
              </a:ext>
            </a:extLst>
          </p:cNvPr>
          <p:cNvSpPr txBox="1"/>
          <p:nvPr/>
        </p:nvSpPr>
        <p:spPr>
          <a:xfrm>
            <a:off x="11614457" y="4840262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C39F0D7-4997-4CA9-8D1E-54B0FCC949A1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23. 9. až 30. 9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98D70D87-2686-42AF-BD0A-8B14BB0C8610}"/>
              </a:ext>
            </a:extLst>
          </p:cNvPr>
          <p:cNvSpPr txBox="1"/>
          <p:nvPr/>
        </p:nvSpPr>
        <p:spPr>
          <a:xfrm>
            <a:off x="5472652" y="100135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4A6DBE4D-80BF-4219-A5EE-30D9C92618AE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A5B65F6A-B055-4644-9749-89A3670BFE76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2F294D6A-D448-4B62-B0E3-08DF1A74999B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BC1108EA-BD72-4A0A-A4C5-54A146EBD84E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49" name="Přímá spojnice 48">
            <a:extLst>
              <a:ext uri="{FF2B5EF4-FFF2-40B4-BE49-F238E27FC236}">
                <a16:creationId xmlns:a16="http://schemas.microsoft.com/office/drawing/2014/main" id="{9A9BB519-6104-4137-9962-5AA424D7BDEC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Přímá spojnice 49">
            <a:extLst>
              <a:ext uri="{FF2B5EF4-FFF2-40B4-BE49-F238E27FC236}">
                <a16:creationId xmlns:a16="http://schemas.microsoft.com/office/drawing/2014/main" id="{80664FA6-1542-4DB2-9A30-E44616EB6B09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D9B16465-C6F9-4236-A800-E1A1A04C058B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540FF94E-75A5-4A90-92CF-3FC3CDCE716D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53" name="Přímá spojnice 52">
            <a:extLst>
              <a:ext uri="{FF2B5EF4-FFF2-40B4-BE49-F238E27FC236}">
                <a16:creationId xmlns:a16="http://schemas.microsoft.com/office/drawing/2014/main" id="{71D8631F-DB7D-4F94-8D69-CA2391F4FBD2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064452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Moravskoslezský kraj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67A8D6D5-2BE1-4709-A9F9-AAD5E93A3096}"/>
              </a:ext>
            </a:extLst>
          </p:cNvPr>
          <p:cNvGrpSpPr/>
          <p:nvPr/>
        </p:nvGrpSpPr>
        <p:grpSpPr>
          <a:xfrm>
            <a:off x="10847672" y="616687"/>
            <a:ext cx="1260195" cy="293736"/>
            <a:chOff x="12375318" y="3580090"/>
            <a:chExt cx="2065512" cy="481446"/>
          </a:xfrm>
        </p:grpSpPr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BE316EE1-BD8B-434D-B8A6-41151101741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3607454"/>
              <a:ext cx="369831" cy="454082"/>
            </a:xfrm>
            <a:prstGeom prst="rect">
              <a:avLst/>
            </a:prstGeom>
          </p:spPr>
        </p:pic>
        <p:pic>
          <p:nvPicPr>
            <p:cNvPr id="32" name="Picture 2" descr="logo MoravskoslezskÃ½ kraj">
              <a:extLst>
                <a:ext uri="{FF2B5EF4-FFF2-40B4-BE49-F238E27FC236}">
                  <a16:creationId xmlns:a16="http://schemas.microsoft.com/office/drawing/2014/main" id="{6820DBB1-4D8C-45BE-990C-77BAF3B771C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55762" y="3580090"/>
              <a:ext cx="1585068" cy="4814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D198C4D8-80C4-4908-94E3-3C203BB3516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92381774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5" name="TextovéPole 64">
            <a:extLst>
              <a:ext uri="{FF2B5EF4-FFF2-40B4-BE49-F238E27FC236}">
                <a16:creationId xmlns:a16="http://schemas.microsoft.com/office/drawing/2014/main" id="{53F4E61F-7CC0-4223-9DCA-C2F47B4B7B45}"/>
              </a:ext>
            </a:extLst>
          </p:cNvPr>
          <p:cNvSpPr txBox="1"/>
          <p:nvPr/>
        </p:nvSpPr>
        <p:spPr>
          <a:xfrm>
            <a:off x="10261720" y="2571841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. 10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1 486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884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578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367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41F7B6FC-C4B4-42E7-9964-0844BB1B47BB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cxnSp>
        <p:nvCxnSpPr>
          <p:cNvPr id="33" name="Přímá spojnice se šipkou 32">
            <a:extLst>
              <a:ext uri="{FF2B5EF4-FFF2-40B4-BE49-F238E27FC236}">
                <a16:creationId xmlns:a16="http://schemas.microsoft.com/office/drawing/2014/main" id="{DDF95F2C-9776-477C-B69B-E3EAE44BEE9D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Přímá spojnice se šipkou 44">
            <a:extLst>
              <a:ext uri="{FF2B5EF4-FFF2-40B4-BE49-F238E27FC236}">
                <a16:creationId xmlns:a16="http://schemas.microsoft.com/office/drawing/2014/main" id="{53E7D912-4ABD-433E-A8C6-A3F41581F92E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6">
            <a:extLst>
              <a:ext uri="{FF2B5EF4-FFF2-40B4-BE49-F238E27FC236}">
                <a16:creationId xmlns:a16="http://schemas.microsoft.com/office/drawing/2014/main" id="{1759560C-FE15-452F-B753-A32E896B65CB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8060B3D1-F2B9-46CB-83D4-44B20A9A6DC6}"/>
              </a:ext>
            </a:extLst>
          </p:cNvPr>
          <p:cNvSpPr txBox="1"/>
          <p:nvPr/>
        </p:nvSpPr>
        <p:spPr>
          <a:xfrm>
            <a:off x="8249941" y="2790122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Obdélník 47">
            <a:extLst>
              <a:ext uri="{FF2B5EF4-FFF2-40B4-BE49-F238E27FC236}">
                <a16:creationId xmlns:a16="http://schemas.microsoft.com/office/drawing/2014/main" id="{1CDF4655-C47E-4712-AE69-4F5DE617A605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23. 9. až 30. 9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49" name="TextovéPole 48">
            <a:extLst>
              <a:ext uri="{FF2B5EF4-FFF2-40B4-BE49-F238E27FC236}">
                <a16:creationId xmlns:a16="http://schemas.microsoft.com/office/drawing/2014/main" id="{A3B0A307-B9A5-4DBD-A18D-CE8FCA3EA491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60</a:t>
            </a:r>
          </a:p>
        </p:txBody>
      </p:sp>
      <p:sp>
        <p:nvSpPr>
          <p:cNvPr id="50" name="TextovéPole 49">
            <a:extLst>
              <a:ext uri="{FF2B5EF4-FFF2-40B4-BE49-F238E27FC236}">
                <a16:creationId xmlns:a16="http://schemas.microsoft.com/office/drawing/2014/main" id="{234E3D9C-F954-448D-82E3-770AAD3CA173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omalého růstu, R = 1,20</a:t>
            </a:r>
          </a:p>
        </p:txBody>
      </p:sp>
      <p:sp>
        <p:nvSpPr>
          <p:cNvPr id="51" name="Obdélník 50">
            <a:extLst>
              <a:ext uri="{FF2B5EF4-FFF2-40B4-BE49-F238E27FC236}">
                <a16:creationId xmlns:a16="http://schemas.microsoft.com/office/drawing/2014/main" id="{88384F24-E255-404E-8B2C-66FF2DBDCB5B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89F7BED3-CD2D-417E-88C0-2B11D845501C}"/>
              </a:ext>
            </a:extLst>
          </p:cNvPr>
          <p:cNvSpPr txBox="1"/>
          <p:nvPr/>
        </p:nvSpPr>
        <p:spPr>
          <a:xfrm>
            <a:off x="4467521" y="278925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60</a:t>
            </a:r>
          </a:p>
        </p:txBody>
      </p:sp>
      <p:cxnSp>
        <p:nvCxnSpPr>
          <p:cNvPr id="56" name="Přímá spojnice 55">
            <a:extLst>
              <a:ext uri="{FF2B5EF4-FFF2-40B4-BE49-F238E27FC236}">
                <a16:creationId xmlns:a16="http://schemas.microsoft.com/office/drawing/2014/main" id="{B7EF11A1-DF14-404F-97FD-EF4D1889D80A}"/>
              </a:ext>
            </a:extLst>
          </p:cNvPr>
          <p:cNvCxnSpPr>
            <a:cxnSpLocks/>
          </p:cNvCxnSpPr>
          <p:nvPr/>
        </p:nvCxnSpPr>
        <p:spPr>
          <a:xfrm>
            <a:off x="4173268" y="29442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8" name="TextovéPole 57">
            <a:extLst>
              <a:ext uri="{FF2B5EF4-FFF2-40B4-BE49-F238E27FC236}">
                <a16:creationId xmlns:a16="http://schemas.microsoft.com/office/drawing/2014/main" id="{D996B2A7-2E47-444F-A693-D572E804A338}"/>
              </a:ext>
            </a:extLst>
          </p:cNvPr>
          <p:cNvSpPr txBox="1"/>
          <p:nvPr/>
        </p:nvSpPr>
        <p:spPr>
          <a:xfrm>
            <a:off x="4467521" y="29967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59" name="Přímá spojnice 58">
            <a:extLst>
              <a:ext uri="{FF2B5EF4-FFF2-40B4-BE49-F238E27FC236}">
                <a16:creationId xmlns:a16="http://schemas.microsoft.com/office/drawing/2014/main" id="{AC3AA9E4-A569-4788-87CC-4088828F9D91}"/>
              </a:ext>
            </a:extLst>
          </p:cNvPr>
          <p:cNvCxnSpPr>
            <a:cxnSpLocks/>
          </p:cNvCxnSpPr>
          <p:nvPr/>
        </p:nvCxnSpPr>
        <p:spPr>
          <a:xfrm>
            <a:off x="4173268" y="3167595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60" name="Přímá spojnice 59">
            <a:extLst>
              <a:ext uri="{FF2B5EF4-FFF2-40B4-BE49-F238E27FC236}">
                <a16:creationId xmlns:a16="http://schemas.microsoft.com/office/drawing/2014/main" id="{AA113F19-1197-4AAA-9E5D-626FEC0CCB5E}"/>
              </a:ext>
            </a:extLst>
          </p:cNvPr>
          <p:cNvCxnSpPr>
            <a:cxnSpLocks/>
          </p:cNvCxnSpPr>
          <p:nvPr/>
        </p:nvCxnSpPr>
        <p:spPr>
          <a:xfrm>
            <a:off x="4173268" y="3572343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6F2375FB-85DF-4029-A408-46A9AE346FAE}"/>
              </a:ext>
            </a:extLst>
          </p:cNvPr>
          <p:cNvSpPr txBox="1"/>
          <p:nvPr/>
        </p:nvSpPr>
        <p:spPr>
          <a:xfrm>
            <a:off x="4467521" y="3423047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10. 2021)</a:t>
            </a:r>
          </a:p>
        </p:txBody>
      </p:sp>
      <p:sp>
        <p:nvSpPr>
          <p:cNvPr id="62" name="TextovéPole 61">
            <a:extLst>
              <a:ext uri="{FF2B5EF4-FFF2-40B4-BE49-F238E27FC236}">
                <a16:creationId xmlns:a16="http://schemas.microsoft.com/office/drawing/2014/main" id="{FF739972-B2BF-4068-A201-BA89DE96B0B3}"/>
              </a:ext>
            </a:extLst>
          </p:cNvPr>
          <p:cNvSpPr txBox="1"/>
          <p:nvPr/>
        </p:nvSpPr>
        <p:spPr>
          <a:xfrm>
            <a:off x="4468013" y="3216570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63" name="Přímá spojnice 62">
            <a:extLst>
              <a:ext uri="{FF2B5EF4-FFF2-40B4-BE49-F238E27FC236}">
                <a16:creationId xmlns:a16="http://schemas.microsoft.com/office/drawing/2014/main" id="{0F117193-7CF7-495F-B759-537767A2D8B9}"/>
              </a:ext>
            </a:extLst>
          </p:cNvPr>
          <p:cNvCxnSpPr>
            <a:cxnSpLocks/>
          </p:cNvCxnSpPr>
          <p:nvPr/>
        </p:nvCxnSpPr>
        <p:spPr>
          <a:xfrm>
            <a:off x="4173268" y="3367779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39467777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Moravskoslezs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93B28575-B676-4AB3-A35F-2AF5E956246F}"/>
              </a:ext>
            </a:extLst>
          </p:cNvPr>
          <p:cNvGrpSpPr/>
          <p:nvPr/>
        </p:nvGrpSpPr>
        <p:grpSpPr>
          <a:xfrm>
            <a:off x="10847672" y="616687"/>
            <a:ext cx="1260195" cy="293736"/>
            <a:chOff x="12375318" y="3580090"/>
            <a:chExt cx="2065512" cy="481446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B7DCF597-4193-4B75-86AF-8804BFB3876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3607454"/>
              <a:ext cx="369831" cy="454082"/>
            </a:xfrm>
            <a:prstGeom prst="rect">
              <a:avLst/>
            </a:prstGeom>
          </p:spPr>
        </p:pic>
        <p:pic>
          <p:nvPicPr>
            <p:cNvPr id="34" name="Picture 2" descr="logo MoravskoslezskÃ½ kraj">
              <a:extLst>
                <a:ext uri="{FF2B5EF4-FFF2-40B4-BE49-F238E27FC236}">
                  <a16:creationId xmlns:a16="http://schemas.microsoft.com/office/drawing/2014/main" id="{A6DD4F8C-022B-4E6A-A279-442EC18AA4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55762" y="3580090"/>
              <a:ext cx="1585068" cy="4814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C9E63093-5C55-4DC2-AB2F-BA3E20289B5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4580093"/>
              </p:ext>
            </p:extLst>
          </p:nvPr>
        </p:nvGraphicFramePr>
        <p:xfrm>
          <a:off x="556549" y="1345921"/>
          <a:ext cx="11354940" cy="5575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4" name="TextovéPole 53">
            <a:extLst>
              <a:ext uri="{FF2B5EF4-FFF2-40B4-BE49-F238E27FC236}">
                <a16:creationId xmlns:a16="http://schemas.microsoft.com/office/drawing/2014/main" id="{906D61CD-8C7F-49F4-8840-A3B23A4B70F4}"/>
              </a:ext>
            </a:extLst>
          </p:cNvPr>
          <p:cNvSpPr txBox="1"/>
          <p:nvPr/>
        </p:nvSpPr>
        <p:spPr>
          <a:xfrm>
            <a:off x="8219953" y="2059689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. 10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547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348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236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56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56" name="TextBox 6">
            <a:extLst>
              <a:ext uri="{FF2B5EF4-FFF2-40B4-BE49-F238E27FC236}">
                <a16:creationId xmlns:a16="http://schemas.microsoft.com/office/drawing/2014/main" id="{F6ACBF8E-7576-490C-A9BF-C03DB1049512}"/>
              </a:ext>
            </a:extLst>
          </p:cNvPr>
          <p:cNvSpPr txBox="1"/>
          <p:nvPr/>
        </p:nvSpPr>
        <p:spPr>
          <a:xfrm rot="16200000">
            <a:off x="-1483263" y="3838646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E5B60A3B-C32C-4435-B878-13D2898969E7}"/>
              </a:ext>
            </a:extLst>
          </p:cNvPr>
          <p:cNvSpPr txBox="1"/>
          <p:nvPr/>
        </p:nvSpPr>
        <p:spPr>
          <a:xfrm>
            <a:off x="7733303" y="1744628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60EECC08-D359-4E45-94BA-DD52F3A693F1}"/>
              </a:ext>
            </a:extLst>
          </p:cNvPr>
          <p:cNvSpPr txBox="1"/>
          <p:nvPr/>
        </p:nvSpPr>
        <p:spPr>
          <a:xfrm>
            <a:off x="11581780" y="5114273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C6646942-7567-46AD-8B53-AEE676889AAC}"/>
              </a:ext>
            </a:extLst>
          </p:cNvPr>
          <p:cNvSpPr txBox="1"/>
          <p:nvPr/>
        </p:nvSpPr>
        <p:spPr>
          <a:xfrm>
            <a:off x="11581780" y="5587866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E2019607-6E54-42E2-A349-E70B3DF58A85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23. 9. až 30. 9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EBFE0CBF-7B64-4BB7-A4FD-6620D0848397}"/>
              </a:ext>
            </a:extLst>
          </p:cNvPr>
          <p:cNvSpPr txBox="1"/>
          <p:nvPr/>
        </p:nvSpPr>
        <p:spPr>
          <a:xfrm>
            <a:off x="5472652" y="100135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8BC4ADF7-5E26-47ED-BC0F-5802829FDBE2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29" name="Obdélník 28">
            <a:extLst>
              <a:ext uri="{FF2B5EF4-FFF2-40B4-BE49-F238E27FC236}">
                <a16:creationId xmlns:a16="http://schemas.microsoft.com/office/drawing/2014/main" id="{5E672CE7-BA14-46E4-BF58-BE3F9AEEA46C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0" name="Přímá spojnice 29">
            <a:extLst>
              <a:ext uri="{FF2B5EF4-FFF2-40B4-BE49-F238E27FC236}">
                <a16:creationId xmlns:a16="http://schemas.microsoft.com/office/drawing/2014/main" id="{896E2F39-5065-488A-8A5E-596E8A2B0EE1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C662684D-C53A-4CF0-B2E6-BEBF9D07A0E9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35" name="Přímá spojnice 34">
            <a:extLst>
              <a:ext uri="{FF2B5EF4-FFF2-40B4-BE49-F238E27FC236}">
                <a16:creationId xmlns:a16="http://schemas.microsoft.com/office/drawing/2014/main" id="{25D25460-2029-495F-B16B-CA865857007A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35">
            <a:extLst>
              <a:ext uri="{FF2B5EF4-FFF2-40B4-BE49-F238E27FC236}">
                <a16:creationId xmlns:a16="http://schemas.microsoft.com/office/drawing/2014/main" id="{6FEA28AB-B21C-4381-A086-915DD9E044DD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ovéPole 48">
            <a:extLst>
              <a:ext uri="{FF2B5EF4-FFF2-40B4-BE49-F238E27FC236}">
                <a16:creationId xmlns:a16="http://schemas.microsoft.com/office/drawing/2014/main" id="{5806BCE7-ED04-42F1-865B-062BDF695205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50" name="TextovéPole 49">
            <a:extLst>
              <a:ext uri="{FF2B5EF4-FFF2-40B4-BE49-F238E27FC236}">
                <a16:creationId xmlns:a16="http://schemas.microsoft.com/office/drawing/2014/main" id="{D79CF83F-E284-41EE-949C-299D5B42E268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51" name="Přímá spojnice 50">
            <a:extLst>
              <a:ext uri="{FF2B5EF4-FFF2-40B4-BE49-F238E27FC236}">
                <a16:creationId xmlns:a16="http://schemas.microsoft.com/office/drawing/2014/main" id="{EC2E9066-9BB8-4A01-8488-9B7D9BBC25A0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18161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Chart 4">
            <a:extLst>
              <a:ext uri="{FF2B5EF4-FFF2-40B4-BE49-F238E27FC236}">
                <a16:creationId xmlns:a16="http://schemas.microsoft.com/office/drawing/2014/main" id="{49B07879-1D7D-432F-964E-F4D01F6C03A2}"/>
              </a:ext>
            </a:extLst>
          </p:cNvPr>
          <p:cNvGraphicFramePr/>
          <p:nvPr/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Krátkodobá projekce ve čtyřech scénářích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60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středního růstu, R = 1,20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4467521" y="278925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8249941" y="2790122"/>
            <a:ext cx="2070619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3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4173268" y="2944288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4467521" y="29967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4173268" y="3167595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4173268" y="3572343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4467521" y="3423047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1. 10. 2021)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A5C97B4C-ED25-4E57-BB83-FAED72C8D978}"/>
              </a:ext>
            </a:extLst>
          </p:cNvPr>
          <p:cNvSpPr txBox="1"/>
          <p:nvPr/>
        </p:nvSpPr>
        <p:spPr>
          <a:xfrm>
            <a:off x="4468013" y="3216570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A4C853E7-AA17-488D-8B4F-4A4F18501DC6}"/>
              </a:ext>
            </a:extLst>
          </p:cNvPr>
          <p:cNvCxnSpPr>
            <a:cxnSpLocks/>
          </p:cNvCxnSpPr>
          <p:nvPr/>
        </p:nvCxnSpPr>
        <p:spPr>
          <a:xfrm>
            <a:off x="4173268" y="3367779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1D70118C-C2C5-49EF-B375-3F438133B881}"/>
              </a:ext>
            </a:extLst>
          </p:cNvPr>
          <p:cNvSpPr txBox="1"/>
          <p:nvPr/>
        </p:nvSpPr>
        <p:spPr>
          <a:xfrm>
            <a:off x="10320560" y="2378659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. 10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 488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5 648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 688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 341 predikovaných</a:t>
            </a:r>
          </a:p>
        </p:txBody>
      </p:sp>
      <p:cxnSp>
        <p:nvCxnSpPr>
          <p:cNvPr id="4" name="Přímá spojnice se šipkou 3">
            <a:extLst>
              <a:ext uri="{FF2B5EF4-FFF2-40B4-BE49-F238E27FC236}">
                <a16:creationId xmlns:a16="http://schemas.microsoft.com/office/drawing/2014/main" id="{D17456AC-E904-4FC2-8108-E85FAE4EC0AA}"/>
              </a:ext>
            </a:extLst>
          </p:cNvPr>
          <p:cNvCxnSpPr>
            <a:cxnSpLocks/>
          </p:cNvCxnSpPr>
          <p:nvPr/>
        </p:nvCxnSpPr>
        <p:spPr>
          <a:xfrm flipH="1">
            <a:off x="1356685" y="4853824"/>
            <a:ext cx="10269259" cy="35149"/>
          </a:xfrm>
          <a:prstGeom prst="straightConnector1">
            <a:avLst/>
          </a:prstGeom>
          <a:ln w="28575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ovéPole 4">
            <a:extLst>
              <a:ext uri="{FF2B5EF4-FFF2-40B4-BE49-F238E27FC236}">
                <a16:creationId xmlns:a16="http://schemas.microsoft.com/office/drawing/2014/main" id="{AEB9D110-E16C-414D-AC4E-4F3610CBFF02}"/>
              </a:ext>
            </a:extLst>
          </p:cNvPr>
          <p:cNvSpPr txBox="1"/>
          <p:nvPr/>
        </p:nvSpPr>
        <p:spPr>
          <a:xfrm>
            <a:off x="1356685" y="4289558"/>
            <a:ext cx="522514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i udržení stávajícího trendu šíření epidemie existuje potenciál k více jak 6 000 nových případů průměrně denně</a:t>
            </a:r>
            <a:endParaRPr kumimoji="0" lang="en-US" sz="1600" b="1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70582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A8F32B7D-2094-4232-AD78-BE19DD7B9AE6}"/>
              </a:ext>
            </a:extLst>
          </p:cNvPr>
          <p:cNvSpPr txBox="1"/>
          <p:nvPr/>
        </p:nvSpPr>
        <p:spPr>
          <a:xfrm>
            <a:off x="-177557" y="676896"/>
            <a:ext cx="123139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cké křivky vytvořeny pomocí modelu pro krátkodobé predikce ÚZIS ČR,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ov</a:t>
            </a:r>
            <a:r>
              <a:rPr kumimoji="0" lang="cs-CZ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dá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údajům z 1. 10. 2021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aměřené hodnoty jsou aktuální </a:t>
            </a:r>
            <a:r>
              <a:rPr kumimoji="0" lang="pl-PL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uzavřenému dni 23. 10. 2021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999" y="2574"/>
            <a:ext cx="11757523" cy="576000"/>
          </a:xfrm>
        </p:spPr>
        <p:txBody>
          <a:bodyPr/>
          <a:lstStyle/>
          <a:p>
            <a:r>
              <a:rPr lang="cs-CZ" sz="2400" dirty="0" err="1"/>
              <a:t>Rekalibrace</a:t>
            </a:r>
            <a:r>
              <a:rPr lang="cs-CZ" sz="2400" dirty="0"/>
              <a:t> prediktivního modelu pro </a:t>
            </a:r>
            <a:r>
              <a:rPr lang="cs-CZ" sz="2400" u="sng" dirty="0"/>
              <a:t>nové scénáře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2CDF3C9D-B366-482C-9DEE-848BF9D72AE3}"/>
              </a:ext>
            </a:extLst>
          </p:cNvPr>
          <p:cNvGraphicFramePr>
            <a:graphicFrameLocks noGrp="1"/>
          </p:cNvGraphicFramePr>
          <p:nvPr/>
        </p:nvGraphicFramePr>
        <p:xfrm>
          <a:off x="45720" y="1491579"/>
          <a:ext cx="12108951" cy="3786049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8446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23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308321464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314805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091220691"/>
                    </a:ext>
                  </a:extLst>
                </a:gridCol>
              </a:tblGrid>
              <a:tr h="744980">
                <a:tc>
                  <a:txBody>
                    <a:bodyPr/>
                    <a:lstStyle/>
                    <a:p>
                      <a:pPr algn="l"/>
                      <a:endParaRPr lang="cs-CZ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u="sng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dikovaný celkový počet</a:t>
                      </a:r>
                      <a:r>
                        <a:rPr lang="cs-CZ" sz="1600" u="non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br>
                        <a:rPr lang="cs-CZ" sz="1600" u="non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cs-CZ" sz="1600" u="non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r>
                        <a:rPr lang="cs-CZ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vě prokázané nákazy COVID-19</a:t>
                      </a:r>
                      <a:endParaRPr lang="cs-CZ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alita: naměřené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odno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u="sng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dikovaný průměrný denní počet</a:t>
                      </a:r>
                      <a:r>
                        <a:rPr lang="cs-CZ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ě prokázané nákazy COVID-19</a:t>
                      </a:r>
                      <a:endParaRPr lang="cs-CZ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alita: naměřené</a:t>
                      </a:r>
                    </a:p>
                    <a:p>
                      <a:pPr algn="ctr"/>
                      <a:r>
                        <a:rPr lang="cs-CZ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dnoty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0514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odnota R</a:t>
                      </a:r>
                      <a:b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od 23. 9.)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3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4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60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3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4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60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ní průměr včetně víkendů</a:t>
                      </a:r>
                      <a:endParaRPr lang="en-US" sz="1200" dirty="0">
                        <a:highlight>
                          <a:srgbClr val="FFFFFF"/>
                        </a:highligh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ní průměr v pracovních dnech</a:t>
                      </a:r>
                      <a:endParaRPr lang="cs-CZ" sz="1200" dirty="0">
                        <a:highlight>
                          <a:srgbClr val="FFFFFF"/>
                        </a:highligh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08982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bdobí </a:t>
                      </a:r>
                      <a:r>
                        <a:rPr lang="cs-CZ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  <a:r>
                        <a:rPr lang="cs-CZ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–10. 10.</a:t>
                      </a:r>
                      <a:endParaRPr lang="cs-CZ" sz="14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,0 tisí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,9 tisí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,8 tisí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,8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5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9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12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25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254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8352645"/>
                  </a:ext>
                </a:extLst>
              </a:tr>
              <a:tr h="508982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bdobí </a:t>
                      </a:r>
                      <a:r>
                        <a:rPr lang="cs-CZ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</a:t>
                      </a:r>
                      <a:r>
                        <a:rPr lang="cs-CZ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–17. 10.</a:t>
                      </a:r>
                      <a:endParaRPr lang="cs-CZ" sz="14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,0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,2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,7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2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598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96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18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7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3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0855002"/>
                  </a:ext>
                </a:extLst>
              </a:tr>
              <a:tr h="508982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bdobí </a:t>
                      </a:r>
                      <a:r>
                        <a:rPr lang="cs-CZ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.</a:t>
                      </a:r>
                      <a:r>
                        <a:rPr lang="cs-CZ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24. 10.</a:t>
                      </a:r>
                      <a:endParaRPr lang="cs-CZ" sz="14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,6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65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26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 04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 042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3563208"/>
                  </a:ext>
                </a:extLst>
              </a:tr>
              <a:tr h="508982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bdobí </a:t>
                      </a:r>
                      <a:r>
                        <a:rPr lang="cs-CZ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.</a:t>
                      </a:r>
                      <a:r>
                        <a:rPr lang="cs-CZ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31. 10.</a:t>
                      </a:r>
                      <a:endParaRPr lang="cs-CZ" sz="14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,8 tisíc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 tisíc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3 tisíc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11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 199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 722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 422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528756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E4A0DC13-0AB7-42C0-B44A-C8095E8723E9}"/>
              </a:ext>
            </a:extLst>
          </p:cNvPr>
          <p:cNvSpPr txBox="1"/>
          <p:nvPr/>
        </p:nvSpPr>
        <p:spPr>
          <a:xfrm>
            <a:off x="45720" y="5290643"/>
            <a:ext cx="12090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počty odpovídají modelovaným hodnotám (kalibrovaným na hodnoty pozorované v pracovních dnech), naměřené hodnoty zahrnují všechny počty hlášené do databáze, včetně potenciálně nižších záchytů nemoci v nepracovních dnech. V případě denního průměrného počtu jsou uvedeny i hodnoty, které zahrnují pouze pracovní dny.</a:t>
            </a:r>
          </a:p>
        </p:txBody>
      </p:sp>
    </p:spTree>
    <p:extLst>
      <p:ext uri="{BB962C8B-B14F-4D97-AF65-F5344CB8AC3E}">
        <p14:creationId xmlns:p14="http://schemas.microsoft.com/office/powerpoint/2010/main" val="11611853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Chart 4">
            <a:extLst>
              <a:ext uri="{FF2B5EF4-FFF2-40B4-BE49-F238E27FC236}">
                <a16:creationId xmlns:a16="http://schemas.microsoft.com/office/drawing/2014/main" id="{1C607227-CBFF-4193-B50F-EDC6549C29C0}"/>
              </a:ext>
            </a:extLst>
          </p:cNvPr>
          <p:cNvGraphicFramePr/>
          <p:nvPr/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11354940" cy="576000"/>
          </a:xfrm>
        </p:spPr>
        <p:txBody>
          <a:bodyPr/>
          <a:lstStyle/>
          <a:p>
            <a:r>
              <a:rPr lang="cs-CZ" sz="2400" dirty="0"/>
              <a:t>7denní hodnoty na 100 tisíc obyvatel: krátkodobá projekce vývoje 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2042000" y="2525313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1747255" y="2152452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2026998" y="2110691"/>
            <a:ext cx="30234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3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747255" y="2680348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2042000" y="275053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747255" y="2903655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747255" y="3351960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2034143" y="3202664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1. 10. 2021)</a:t>
            </a: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89FB82C-0781-4D81-8598-ADCA44A2C668}"/>
              </a:ext>
            </a:extLst>
          </p:cNvPr>
          <p:cNvSpPr txBox="1"/>
          <p:nvPr/>
        </p:nvSpPr>
        <p:spPr>
          <a:xfrm>
            <a:off x="2042935" y="2968430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22" name="Přímá spojnice 21">
            <a:extLst>
              <a:ext uri="{FF2B5EF4-FFF2-40B4-BE49-F238E27FC236}">
                <a16:creationId xmlns:a16="http://schemas.microsoft.com/office/drawing/2014/main" id="{6ABB5C34-E37E-4393-9335-919B32DCDD69}"/>
              </a:ext>
            </a:extLst>
          </p:cNvPr>
          <p:cNvCxnSpPr>
            <a:cxnSpLocks/>
          </p:cNvCxnSpPr>
          <p:nvPr/>
        </p:nvCxnSpPr>
        <p:spPr>
          <a:xfrm>
            <a:off x="1748190" y="3119639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60135290-6FA3-4D02-8B2D-7ED6C6EA01FC}"/>
              </a:ext>
            </a:extLst>
          </p:cNvPr>
          <p:cNvSpPr txBox="1"/>
          <p:nvPr/>
        </p:nvSpPr>
        <p:spPr>
          <a:xfrm>
            <a:off x="8164223" y="786167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1D997ECA-8A36-4B34-B5A8-38AA2E8AA115}"/>
              </a:ext>
            </a:extLst>
          </p:cNvPr>
          <p:cNvSpPr txBox="1"/>
          <p:nvPr/>
        </p:nvSpPr>
        <p:spPr>
          <a:xfrm>
            <a:off x="11581781" y="3988098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95545FA7-595F-4A29-94DD-6DCFA00D86C0}"/>
              </a:ext>
            </a:extLst>
          </p:cNvPr>
          <p:cNvSpPr txBox="1"/>
          <p:nvPr/>
        </p:nvSpPr>
        <p:spPr>
          <a:xfrm>
            <a:off x="11581780" y="4888611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6167808C-DD4A-421B-9D5A-5608932F9D83}"/>
              </a:ext>
            </a:extLst>
          </p:cNvPr>
          <p:cNvSpPr txBox="1"/>
          <p:nvPr/>
        </p:nvSpPr>
        <p:spPr>
          <a:xfrm>
            <a:off x="228000" y="6363777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80 % pr</a:t>
            </a:r>
            <a:r>
              <a:rPr kumimoji="0" lang="cs-CZ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měrné</a:t>
            </a: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odnoty v pracovních dnech).</a:t>
            </a: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F7DB961D-ABD5-41BE-ADA5-AA206F4321B7}"/>
              </a:ext>
            </a:extLst>
          </p:cNvPr>
          <p:cNvSpPr txBox="1"/>
          <p:nvPr/>
        </p:nvSpPr>
        <p:spPr>
          <a:xfrm>
            <a:off x="1444764" y="834329"/>
            <a:ext cx="618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i udržení stávajícího trendu šíření epidemie existuje potenciál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více jak 300 nových případů na 100 tis. obyvatel týdně</a:t>
            </a:r>
            <a:endParaRPr kumimoji="0" lang="en-US" sz="1600" b="1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6" name="Přímá spojnice se šipkou 35">
            <a:extLst>
              <a:ext uri="{FF2B5EF4-FFF2-40B4-BE49-F238E27FC236}">
                <a16:creationId xmlns:a16="http://schemas.microsoft.com/office/drawing/2014/main" id="{83D2A8BB-69BD-4EF6-9919-637204DBCF2D}"/>
              </a:ext>
            </a:extLst>
          </p:cNvPr>
          <p:cNvCxnSpPr>
            <a:cxnSpLocks/>
          </p:cNvCxnSpPr>
          <p:nvPr/>
        </p:nvCxnSpPr>
        <p:spPr>
          <a:xfrm flipH="1">
            <a:off x="1306219" y="1478204"/>
            <a:ext cx="10263194" cy="0"/>
          </a:xfrm>
          <a:prstGeom prst="straightConnector1">
            <a:avLst/>
          </a:prstGeom>
          <a:ln w="28575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8650873" y="1101228"/>
            <a:ext cx="1945049" cy="118494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. 10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89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48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8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</p:txBody>
      </p:sp>
    </p:spTree>
    <p:extLst>
      <p:ext uri="{BB962C8B-B14F-4D97-AF65-F5344CB8AC3E}">
        <p14:creationId xmlns:p14="http://schemas.microsoft.com/office/powerpoint/2010/main" val="10106393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Stav a vývoj epidemie COVID-19 </a:t>
            </a:r>
            <a:br>
              <a:rPr lang="cs-CZ" dirty="0"/>
            </a:br>
            <a:r>
              <a:rPr lang="cs-CZ" dirty="0"/>
              <a:t>v dostupných datech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04925" y="3693109"/>
            <a:ext cx="9867900" cy="2250491"/>
          </a:xfrm>
        </p:spPr>
        <p:txBody>
          <a:bodyPr>
            <a:normAutofit/>
          </a:bodyPr>
          <a:lstStyle/>
          <a:p>
            <a:r>
              <a:rPr lang="cs-CZ" sz="4800" b="1" dirty="0"/>
              <a:t>Krátkodobé populační predikce pro jednotlivé regiony</a:t>
            </a:r>
            <a:endParaRPr lang="en-US" sz="4800" b="1" dirty="0"/>
          </a:p>
        </p:txBody>
      </p:sp>
    </p:spTree>
    <p:extLst>
      <p:ext uri="{BB962C8B-B14F-4D97-AF65-F5344CB8AC3E}">
        <p14:creationId xmlns:p14="http://schemas.microsoft.com/office/powerpoint/2010/main" val="20659090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Praha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3A3D10F2-5603-4536-8013-E5443E88E93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6542" y="634041"/>
            <a:ext cx="369332" cy="369332"/>
          </a:xfrm>
          <a:prstGeom prst="rect">
            <a:avLst/>
          </a:prstGeom>
        </p:spPr>
      </p:pic>
      <p:graphicFrame>
        <p:nvGraphicFramePr>
          <p:cNvPr id="29" name="Chart 4">
            <a:extLst>
              <a:ext uri="{FF2B5EF4-FFF2-40B4-BE49-F238E27FC236}">
                <a16:creationId xmlns:a16="http://schemas.microsoft.com/office/drawing/2014/main" id="{B6523D7D-8564-427A-B9A2-2C7A2E997A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4149367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8" name="TextovéPole 47">
            <a:extLst>
              <a:ext uri="{FF2B5EF4-FFF2-40B4-BE49-F238E27FC236}">
                <a16:creationId xmlns:a16="http://schemas.microsoft.com/office/drawing/2014/main" id="{EA7FBCD8-2F58-4301-A798-590BFA2E9067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cxnSp>
        <p:nvCxnSpPr>
          <p:cNvPr id="51" name="Přímá spojnice se šipkou 50">
            <a:extLst>
              <a:ext uri="{FF2B5EF4-FFF2-40B4-BE49-F238E27FC236}">
                <a16:creationId xmlns:a16="http://schemas.microsoft.com/office/drawing/2014/main" id="{CBE43764-7DAE-42B9-B384-3F7BA8128675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Přímá spojnice se šipkou 51">
            <a:extLst>
              <a:ext uri="{FF2B5EF4-FFF2-40B4-BE49-F238E27FC236}">
                <a16:creationId xmlns:a16="http://schemas.microsoft.com/office/drawing/2014/main" id="{4DE49FA8-AFB3-4B8B-9B43-1BDD1273377C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6">
            <a:extLst>
              <a:ext uri="{FF2B5EF4-FFF2-40B4-BE49-F238E27FC236}">
                <a16:creationId xmlns:a16="http://schemas.microsoft.com/office/drawing/2014/main" id="{77642D23-AB8A-428B-B5A9-B6DE7D5CA8AC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TextovéPole 55">
            <a:extLst>
              <a:ext uri="{FF2B5EF4-FFF2-40B4-BE49-F238E27FC236}">
                <a16:creationId xmlns:a16="http://schemas.microsoft.com/office/drawing/2014/main" id="{494FEE07-9E48-43F3-ACED-58235DD7DD8B}"/>
              </a:ext>
            </a:extLst>
          </p:cNvPr>
          <p:cNvSpPr txBox="1"/>
          <p:nvPr/>
        </p:nvSpPr>
        <p:spPr>
          <a:xfrm>
            <a:off x="8249941" y="2790122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E83DEFAE-C712-4ECA-9E6F-3A56F8769B65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23. 9. až 30. 9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A2CB00D4-5B9B-4930-8BCC-5361C9A6EA2F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60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8F7CDF86-8B20-4AAC-B373-2D8B4F06E95C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omalého růstu, R = 1,20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07F0F1CE-F37F-4986-91BE-6E379D07486E}"/>
              </a:ext>
            </a:extLst>
          </p:cNvPr>
          <p:cNvSpPr txBox="1"/>
          <p:nvPr/>
        </p:nvSpPr>
        <p:spPr>
          <a:xfrm>
            <a:off x="10513974" y="2435309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. 10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1 759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 047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684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434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E15E1487-A75D-4BAC-860E-28CE11CAF8D1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DBEB4CE4-C503-4ADD-95B6-F7E006E012D2}"/>
              </a:ext>
            </a:extLst>
          </p:cNvPr>
          <p:cNvSpPr txBox="1"/>
          <p:nvPr/>
        </p:nvSpPr>
        <p:spPr>
          <a:xfrm>
            <a:off x="4467521" y="278925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60</a:t>
            </a:r>
          </a:p>
        </p:txBody>
      </p:sp>
      <p:cxnSp>
        <p:nvCxnSpPr>
          <p:cNvPr id="62" name="Přímá spojnice 61">
            <a:extLst>
              <a:ext uri="{FF2B5EF4-FFF2-40B4-BE49-F238E27FC236}">
                <a16:creationId xmlns:a16="http://schemas.microsoft.com/office/drawing/2014/main" id="{B5E36154-E0D1-4F2D-B4F8-B515B116804C}"/>
              </a:ext>
            </a:extLst>
          </p:cNvPr>
          <p:cNvCxnSpPr>
            <a:cxnSpLocks/>
          </p:cNvCxnSpPr>
          <p:nvPr/>
        </p:nvCxnSpPr>
        <p:spPr>
          <a:xfrm>
            <a:off x="4173268" y="29442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1FE0CCD7-860B-4CB8-9B18-E8A10DF62A5B}"/>
              </a:ext>
            </a:extLst>
          </p:cNvPr>
          <p:cNvSpPr txBox="1"/>
          <p:nvPr/>
        </p:nvSpPr>
        <p:spPr>
          <a:xfrm>
            <a:off x="4467521" y="29967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64" name="Přímá spojnice 63">
            <a:extLst>
              <a:ext uri="{FF2B5EF4-FFF2-40B4-BE49-F238E27FC236}">
                <a16:creationId xmlns:a16="http://schemas.microsoft.com/office/drawing/2014/main" id="{C5AFFDFE-1470-4AB7-90F9-24E7911CA688}"/>
              </a:ext>
            </a:extLst>
          </p:cNvPr>
          <p:cNvCxnSpPr>
            <a:cxnSpLocks/>
          </p:cNvCxnSpPr>
          <p:nvPr/>
        </p:nvCxnSpPr>
        <p:spPr>
          <a:xfrm>
            <a:off x="4173268" y="3167595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65" name="Přímá spojnice 64">
            <a:extLst>
              <a:ext uri="{FF2B5EF4-FFF2-40B4-BE49-F238E27FC236}">
                <a16:creationId xmlns:a16="http://schemas.microsoft.com/office/drawing/2014/main" id="{6A78694C-EAF0-48A4-9DA9-44EC0A6FAEE1}"/>
              </a:ext>
            </a:extLst>
          </p:cNvPr>
          <p:cNvCxnSpPr>
            <a:cxnSpLocks/>
          </p:cNvCxnSpPr>
          <p:nvPr/>
        </p:nvCxnSpPr>
        <p:spPr>
          <a:xfrm>
            <a:off x="4173268" y="3572343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66" name="TextovéPole 65">
            <a:extLst>
              <a:ext uri="{FF2B5EF4-FFF2-40B4-BE49-F238E27FC236}">
                <a16:creationId xmlns:a16="http://schemas.microsoft.com/office/drawing/2014/main" id="{0C6AE368-A27C-48A4-B6C9-22F0744AF8AF}"/>
              </a:ext>
            </a:extLst>
          </p:cNvPr>
          <p:cNvSpPr txBox="1"/>
          <p:nvPr/>
        </p:nvSpPr>
        <p:spPr>
          <a:xfrm>
            <a:off x="4467521" y="3423047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10. 2021)</a:t>
            </a: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1D45D98C-4C88-4366-B80F-CB15FE1FA002}"/>
              </a:ext>
            </a:extLst>
          </p:cNvPr>
          <p:cNvSpPr txBox="1"/>
          <p:nvPr/>
        </p:nvSpPr>
        <p:spPr>
          <a:xfrm>
            <a:off x="4468013" y="3216570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68" name="Přímá spojnice 67">
            <a:extLst>
              <a:ext uri="{FF2B5EF4-FFF2-40B4-BE49-F238E27FC236}">
                <a16:creationId xmlns:a16="http://schemas.microsoft.com/office/drawing/2014/main" id="{D826F994-CB86-4173-8531-BD138D7327D2}"/>
              </a:ext>
            </a:extLst>
          </p:cNvPr>
          <p:cNvCxnSpPr>
            <a:cxnSpLocks/>
          </p:cNvCxnSpPr>
          <p:nvPr/>
        </p:nvCxnSpPr>
        <p:spPr>
          <a:xfrm>
            <a:off x="4173268" y="3367779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032452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Praha</a:t>
            </a:r>
          </a:p>
        </p:txBody>
      </p:sp>
      <p:pic>
        <p:nvPicPr>
          <p:cNvPr id="33" name="Obrázek 32">
            <a:extLst>
              <a:ext uri="{FF2B5EF4-FFF2-40B4-BE49-F238E27FC236}">
                <a16:creationId xmlns:a16="http://schemas.microsoft.com/office/drawing/2014/main" id="{9B8E0D10-17C4-4853-8301-52892F01D2DB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6542" y="634041"/>
            <a:ext cx="369332" cy="369332"/>
          </a:xfrm>
          <a:prstGeom prst="rect">
            <a:avLst/>
          </a:prstGeom>
        </p:spPr>
      </p:pic>
      <p:graphicFrame>
        <p:nvGraphicFramePr>
          <p:cNvPr id="21" name="Chart 4">
            <a:extLst>
              <a:ext uri="{FF2B5EF4-FFF2-40B4-BE49-F238E27FC236}">
                <a16:creationId xmlns:a16="http://schemas.microsoft.com/office/drawing/2014/main" id="{BB551E58-93BA-4BAA-AEB2-FEB996BBC53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84695339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TextovéPole 23">
            <a:extLst>
              <a:ext uri="{FF2B5EF4-FFF2-40B4-BE49-F238E27FC236}">
                <a16:creationId xmlns:a16="http://schemas.microsoft.com/office/drawing/2014/main" id="{154B69E7-C0F3-4F83-BEEB-7F5FB9C41705}"/>
              </a:ext>
            </a:extLst>
          </p:cNvPr>
          <p:cNvSpPr txBox="1"/>
          <p:nvPr/>
        </p:nvSpPr>
        <p:spPr>
          <a:xfrm>
            <a:off x="5472652" y="100135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3D0CAB20-8496-4989-B187-013B2A888487}"/>
              </a:ext>
            </a:extLst>
          </p:cNvPr>
          <p:cNvSpPr txBox="1"/>
          <p:nvPr/>
        </p:nvSpPr>
        <p:spPr>
          <a:xfrm>
            <a:off x="8274828" y="1939918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1. 10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578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368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249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65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50" name="TextBox 6">
            <a:extLst>
              <a:ext uri="{FF2B5EF4-FFF2-40B4-BE49-F238E27FC236}">
                <a16:creationId xmlns:a16="http://schemas.microsoft.com/office/drawing/2014/main" id="{050E0672-5489-48D4-AB36-66B83CC45C74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53" name="TextovéPole 52">
            <a:extLst>
              <a:ext uri="{FF2B5EF4-FFF2-40B4-BE49-F238E27FC236}">
                <a16:creationId xmlns:a16="http://schemas.microsoft.com/office/drawing/2014/main" id="{3A111441-D38D-4BAB-A6C5-14164A5FE72F}"/>
              </a:ext>
            </a:extLst>
          </p:cNvPr>
          <p:cNvSpPr txBox="1"/>
          <p:nvPr/>
        </p:nvSpPr>
        <p:spPr>
          <a:xfrm>
            <a:off x="7731011" y="1606347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5AB43827-FF9C-4DD3-8A97-AB27C6E42CDC}"/>
              </a:ext>
            </a:extLst>
          </p:cNvPr>
          <p:cNvSpPr txBox="1"/>
          <p:nvPr/>
        </p:nvSpPr>
        <p:spPr>
          <a:xfrm>
            <a:off x="11588684" y="4575711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F9C9239C-4423-4333-9A89-0170DDD84B84}"/>
              </a:ext>
            </a:extLst>
          </p:cNvPr>
          <p:cNvSpPr txBox="1"/>
          <p:nvPr/>
        </p:nvSpPr>
        <p:spPr>
          <a:xfrm>
            <a:off x="11577197" y="5115984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E60540D2-3AC4-433A-9FA4-DC0A6B8F9082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44" name="Obdélník 43">
            <a:extLst>
              <a:ext uri="{FF2B5EF4-FFF2-40B4-BE49-F238E27FC236}">
                <a16:creationId xmlns:a16="http://schemas.microsoft.com/office/drawing/2014/main" id="{3B689D34-4787-4762-B42F-E8ADBC63BDDD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5" name="Přímá spojnice 44">
            <a:extLst>
              <a:ext uri="{FF2B5EF4-FFF2-40B4-BE49-F238E27FC236}">
                <a16:creationId xmlns:a16="http://schemas.microsoft.com/office/drawing/2014/main" id="{51B848DE-34F7-4FE9-96FB-F56243CD7EBA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AFDCED44-54C8-4F89-9BFC-F121C3E43E3C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47" name="Přímá spojnice 46">
            <a:extLst>
              <a:ext uri="{FF2B5EF4-FFF2-40B4-BE49-F238E27FC236}">
                <a16:creationId xmlns:a16="http://schemas.microsoft.com/office/drawing/2014/main" id="{553D1C87-C8D4-4BD9-BD71-C4F461D4C0E6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Přímá spojnice 47">
            <a:extLst>
              <a:ext uri="{FF2B5EF4-FFF2-40B4-BE49-F238E27FC236}">
                <a16:creationId xmlns:a16="http://schemas.microsoft.com/office/drawing/2014/main" id="{F3A355DA-9EA2-4055-892B-617ACBD1680C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ovéPole 57">
            <a:extLst>
              <a:ext uri="{FF2B5EF4-FFF2-40B4-BE49-F238E27FC236}">
                <a16:creationId xmlns:a16="http://schemas.microsoft.com/office/drawing/2014/main" id="{DD31ACE6-AE23-493B-9E3B-37A0481A6036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8DD054DE-C666-4435-A09A-4A66553C6402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60" name="Přímá spojnice 59">
            <a:extLst>
              <a:ext uri="{FF2B5EF4-FFF2-40B4-BE49-F238E27FC236}">
                <a16:creationId xmlns:a16="http://schemas.microsoft.com/office/drawing/2014/main" id="{6A2A8BDC-0BD2-4CED-9F39-7A002B4A42EA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19A92EDA-D8C3-4EB1-9758-7B12561BC979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23. 9. až 30. 9.</a:t>
            </a:r>
            <a:br>
              <a:rPr lang="cs-CZ" sz="1100" dirty="0"/>
            </a:br>
            <a:endParaRPr lang="cs-CZ" sz="1100" dirty="0"/>
          </a:p>
        </p:txBody>
      </p:sp>
    </p:spTree>
    <p:extLst>
      <p:ext uri="{BB962C8B-B14F-4D97-AF65-F5344CB8AC3E}">
        <p14:creationId xmlns:p14="http://schemas.microsoft.com/office/powerpoint/2010/main" val="13132535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092</TotalTime>
  <Words>4751</Words>
  <Application>Microsoft Office PowerPoint</Application>
  <PresentationFormat>Širokoúhlá obrazovka</PresentationFormat>
  <Paragraphs>648</Paragraphs>
  <Slides>3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35</vt:i4>
      </vt:variant>
    </vt:vector>
  </HeadingPairs>
  <TitlesOfParts>
    <vt:vector size="41" baseType="lpstr">
      <vt:lpstr>Arial</vt:lpstr>
      <vt:lpstr>Calibri</vt:lpstr>
      <vt:lpstr>Calibri Light</vt:lpstr>
      <vt:lpstr>Motiv Office</vt:lpstr>
      <vt:lpstr>1_Motiv systému Office</vt:lpstr>
      <vt:lpstr>1_Motiv Office</vt:lpstr>
      <vt:lpstr>Datová a informační základna  pro management pandemie COVID-19</vt:lpstr>
      <vt:lpstr>Stav a vývoj epidemie COVID-19  v dostupných datech</vt:lpstr>
      <vt:lpstr>Navržené scénáře krátkodobých modelů SIR  pro vývoj epidemie v říjnu</vt:lpstr>
      <vt:lpstr>Krátkodobá projekce ve čtyřech scénářích</vt:lpstr>
      <vt:lpstr>Rekalibrace prediktivního modelu pro nové scénáře</vt:lpstr>
      <vt:lpstr>7denní hodnoty na 100 tisíc obyvatel: krátkodobá projekce vývoje </vt:lpstr>
      <vt:lpstr>Stav a vývoj epidemie COVID-19  v dostupných datech</vt:lpstr>
      <vt:lpstr>Predikce ve čtyřech scénářích: Praha</vt:lpstr>
      <vt:lpstr>Modelové scénáře: 7denní hodnoty na 100 tisíc obyvatel: Praha</vt:lpstr>
      <vt:lpstr>Predikce ve čtyřech scénářích: Středočeský kraj</vt:lpstr>
      <vt:lpstr>Modelové scénáře: 7denní hodnoty na 100 tisíc obyvatel: Středočeský kraj</vt:lpstr>
      <vt:lpstr>Predikce ve čtyřech scénářích: Jihočeský kraj</vt:lpstr>
      <vt:lpstr>Modelové scénáře: 7denní hodnoty na 100 tisíc obyvatel: Jihočeský kraj</vt:lpstr>
      <vt:lpstr>Predikce ve čtyřech scénářích: Plzeňský kraj</vt:lpstr>
      <vt:lpstr>Modelové scénáře: 7denní hodnoty na 100 tisíc obyvatel: Plzeňský kraj</vt:lpstr>
      <vt:lpstr>Predikce ve čtyřech scénářích: Karlovarský kraj</vt:lpstr>
      <vt:lpstr>Modelové scénáře: 7denní hodnoty na 100 tisíc obyvatel: Karlovarský kraj</vt:lpstr>
      <vt:lpstr>Predikce ve čtyřech scénářích: Ústecký kraj</vt:lpstr>
      <vt:lpstr>Modelové scénáře: 7denní hodnoty na 100 tisíc obyvatel: Ústecký kraj</vt:lpstr>
      <vt:lpstr>Predikce ve čtyřech scénářích: Liberecký kraj</vt:lpstr>
      <vt:lpstr>Modelové scénáře: 7denní hodnoty na 100 tisíc obyvatel: Liberecký kraj</vt:lpstr>
      <vt:lpstr>Predikce ve čtyřech scénářích: Královehradecký kraj</vt:lpstr>
      <vt:lpstr>Modelové scénáře: 7denní hodnoty na 100 tisíc obyvatel: Královehradecký kraj</vt:lpstr>
      <vt:lpstr>Predikce ve čtyřech scénářích: Pardubický kraj</vt:lpstr>
      <vt:lpstr>Modelové scénáře: 7denní hodnoty na 100 tisíc obyvatel: Pardubický kraj</vt:lpstr>
      <vt:lpstr>Predikce ve čtyřech scénářích: Kraj Vysočina</vt:lpstr>
      <vt:lpstr>Modelové scénáře: 7denní hodnoty na 100 tisíc obyvatel: Kraj Vysočina</vt:lpstr>
      <vt:lpstr>Predikce ve čtyřech scénářích: Jihomoravský kraj</vt:lpstr>
      <vt:lpstr>Modelové scénáře: 7denní hodnoty na 100 tisíc obyvatel: Jihomoravský kraj</vt:lpstr>
      <vt:lpstr>Predikce ve čtyřech scénářích: Olomoucký kraj</vt:lpstr>
      <vt:lpstr>Modelové scénáře: 7denní hodnoty na 100 tisíc obyvatel: Olomoucký kraj</vt:lpstr>
      <vt:lpstr>Predikce ve čtyřech scénářích: Zlínský kraj</vt:lpstr>
      <vt:lpstr>Modelové scénáře: 7denní hodnoty na 100 tisíc obyvatel: Zlínský kraj</vt:lpstr>
      <vt:lpstr>Predikce ve čtyřech scénářích: Moravskoslezský kraj</vt:lpstr>
      <vt:lpstr>Modelové scénáře: 7denní hodnoty na 100 tisíc obyvatel: Moravskoslezský kraj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Dušek Ladislav prof. RNDr. Ph.D.</cp:lastModifiedBy>
  <cp:revision>2253</cp:revision>
  <dcterms:created xsi:type="dcterms:W3CDTF">2020-03-16T10:06:11Z</dcterms:created>
  <dcterms:modified xsi:type="dcterms:W3CDTF">2021-10-27T16:25:05Z</dcterms:modified>
</cp:coreProperties>
</file>